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738" r:id="rId5"/>
  </p:sldMasterIdLst>
  <p:notesMasterIdLst>
    <p:notesMasterId r:id="rId27"/>
  </p:notesMasterIdLst>
  <p:handoutMasterIdLst>
    <p:handoutMasterId r:id="rId28"/>
  </p:handoutMasterIdLst>
  <p:sldIdLst>
    <p:sldId id="265" r:id="rId6"/>
    <p:sldId id="302" r:id="rId7"/>
    <p:sldId id="303" r:id="rId8"/>
    <p:sldId id="304" r:id="rId9"/>
    <p:sldId id="305" r:id="rId10"/>
    <p:sldId id="283" r:id="rId11"/>
    <p:sldId id="286" r:id="rId12"/>
    <p:sldId id="287" r:id="rId13"/>
    <p:sldId id="288" r:id="rId14"/>
    <p:sldId id="272" r:id="rId15"/>
    <p:sldId id="295" r:id="rId16"/>
    <p:sldId id="267" r:id="rId17"/>
    <p:sldId id="296" r:id="rId18"/>
    <p:sldId id="270" r:id="rId19"/>
    <p:sldId id="259" r:id="rId20"/>
    <p:sldId id="297" r:id="rId21"/>
    <p:sldId id="298" r:id="rId22"/>
    <p:sldId id="299" r:id="rId23"/>
    <p:sldId id="291" r:id="rId24"/>
    <p:sldId id="275" r:id="rId25"/>
    <p:sldId id="263" r:id="rId26"/>
  </p:sldIdLst>
  <p:sldSz cx="12192000" cy="6858000"/>
  <p:notesSz cx="6797675" cy="9926638"/>
  <p:defaultText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pos="4596" userDrawn="1">
          <p15:clr>
            <a:srgbClr val="A4A3A4"/>
          </p15:clr>
        </p15:guide>
        <p15:guide id="6" orient="horz" pos="2009" userDrawn="1">
          <p15:clr>
            <a:srgbClr val="A4A3A4"/>
          </p15:clr>
        </p15:guide>
      </p15:sldGuideLst>
    </p:ext>
    <p:ext uri="{2D200454-40CA-4A62-9FC3-DE9A4176ACB9}">
      <p15:notesGuideLst xmlns:p15="http://schemas.microsoft.com/office/powerpoint/2012/main">
        <p15:guide id="1" orient="horz" pos="21469" userDrawn="1">
          <p15:clr>
            <a:srgbClr val="A4A3A4"/>
          </p15:clr>
        </p15:guide>
        <p15:guide id="2" pos="2121" userDrawn="1">
          <p15:clr>
            <a:srgbClr val="A4A3A4"/>
          </p15:clr>
        </p15:guide>
        <p15:guide id="3" orient="horz" pos="21170" userDrawn="1">
          <p15:clr>
            <a:srgbClr val="A4A3A4"/>
          </p15:clr>
        </p15:guide>
        <p15:guide id="4" pos="21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CDC3"/>
    <a:srgbClr val="D6CDC3"/>
    <a:srgbClr val="FFFFFF"/>
    <a:srgbClr val="FFD451"/>
    <a:srgbClr val="CC071E"/>
    <a:srgbClr val="EE0B1B"/>
    <a:srgbClr val="EBF6FF"/>
    <a:srgbClr val="F2F2F2"/>
    <a:srgbClr val="D8D8D8"/>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B4B568-6FC0-44C0-9FED-4B0AE62EAE7E}" v="236" dt="2018-06-27T17:08:18.960"/>
    <p1510:client id="{27DCC812-4EF5-46CB-B18C-9F2D4E99B75C}" v="74" dt="2018-06-28T06:52:34.004"/>
    <p1510:client id="{75BB5862-A2E5-4D8B-8DE0-1E655FCBE4AF}" v="22" dt="2018-06-27T13:41:43.164"/>
  </p1510:revLst>
</p1510:revInfo>
</file>

<file path=ppt/tableStyles.xml><?xml version="1.0" encoding="utf-8"?>
<a:tblStyleLst xmlns:a="http://schemas.openxmlformats.org/drawingml/2006/main" def="{073A0DAA-6AF3-43AB-8588-CEC1D06C72B9}">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363" autoAdjust="0"/>
  </p:normalViewPr>
  <p:slideViewPr>
    <p:cSldViewPr snapToGrid="0">
      <p:cViewPr varScale="1">
        <p:scale>
          <a:sx n="88" d="100"/>
          <a:sy n="88" d="100"/>
        </p:scale>
        <p:origin x="1434" y="90"/>
      </p:cViewPr>
      <p:guideLst>
        <p:guide pos="4596"/>
        <p:guide orient="horz" pos="2009"/>
      </p:guideLst>
    </p:cSldViewPr>
  </p:slideViewPr>
  <p:notesTextViewPr>
    <p:cViewPr>
      <p:scale>
        <a:sx n="1" d="1"/>
        <a:sy n="1" d="1"/>
      </p:scale>
      <p:origin x="0" y="0"/>
    </p:cViewPr>
  </p:notesTextViewPr>
  <p:notesViewPr>
    <p:cSldViewPr snapToGrid="0">
      <p:cViewPr>
        <p:scale>
          <a:sx n="1" d="2"/>
          <a:sy n="1" d="2"/>
        </p:scale>
        <p:origin x="3490" y="29"/>
      </p:cViewPr>
      <p:guideLst>
        <p:guide orient="horz" pos="21469"/>
        <p:guide pos="2121"/>
        <p:guide orient="horz" pos="21170"/>
        <p:guide pos="21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userId="b5a1e2b0bb87209e" providerId="LiveId" clId="{15B4B568-6FC0-44C0-9FED-4B0AE62EAE7E}"/>
    <pc:docChg chg="custSel modSld">
      <pc:chgData name="" userId="b5a1e2b0bb87209e" providerId="LiveId" clId="{15B4B568-6FC0-44C0-9FED-4B0AE62EAE7E}" dt="2018-06-27T17:08:18.960" v="235" actId="114"/>
      <pc:docMkLst>
        <pc:docMk/>
      </pc:docMkLst>
      <pc:sldChg chg="modNotesTx">
        <pc:chgData name="" userId="b5a1e2b0bb87209e" providerId="LiveId" clId="{15B4B568-6FC0-44C0-9FED-4B0AE62EAE7E}" dt="2018-06-27T17:08:18.960" v="235" actId="114"/>
        <pc:sldMkLst>
          <pc:docMk/>
          <pc:sldMk cId="1396280985" sldId="277"/>
        </pc:sldMkLst>
      </pc:sldChg>
      <pc:sldChg chg="modSp modAnim">
        <pc:chgData name="" userId="b5a1e2b0bb87209e" providerId="LiveId" clId="{15B4B568-6FC0-44C0-9FED-4B0AE62EAE7E}" dt="2018-06-27T16:29:00.047" v="2" actId="20577"/>
        <pc:sldMkLst>
          <pc:docMk/>
          <pc:sldMk cId="2463784664" sldId="286"/>
        </pc:sldMkLst>
        <pc:spChg chg="mod">
          <ac:chgData name="" userId="b5a1e2b0bb87209e" providerId="LiveId" clId="{15B4B568-6FC0-44C0-9FED-4B0AE62EAE7E}" dt="2018-06-27T16:29:00.047" v="2" actId="20577"/>
          <ac:spMkLst>
            <pc:docMk/>
            <pc:sldMk cId="2463784664" sldId="286"/>
            <ac:spMk id="23" creationId="{00000000-0000-0000-0000-000000000000}"/>
          </ac:spMkLst>
        </pc:spChg>
      </pc:sldChg>
      <pc:sldChg chg="modNotesTx">
        <pc:chgData name="" userId="b5a1e2b0bb87209e" providerId="LiveId" clId="{15B4B568-6FC0-44C0-9FED-4B0AE62EAE7E}" dt="2018-06-27T17:07:13.722" v="166" actId="20577"/>
        <pc:sldMkLst>
          <pc:docMk/>
          <pc:sldMk cId="3080130061" sldId="302"/>
        </pc:sldMkLst>
      </pc:sldChg>
    </pc:docChg>
  </pc:docChgLst>
  <pc:docChgLst>
    <pc:chgData name="Ignaz Kressibucher" userId="b5a1e2b0bb87209e" providerId="Windows Live" clId="Web-{77F3FF6F-623F-43AC-A4C8-73ADFEB36478}"/>
    <pc:docChg chg="modSld">
      <pc:chgData name="Ignaz Kressibucher" userId="b5a1e2b0bb87209e" providerId="Windows Live" clId="Web-{77F3FF6F-623F-43AC-A4C8-73ADFEB36478}" dt="2018-06-27T14:18:48.880" v="65"/>
      <pc:docMkLst>
        <pc:docMk/>
      </pc:docMkLst>
      <pc:sldChg chg="modSp modNotes">
        <pc:chgData name="Ignaz Kressibucher" userId="b5a1e2b0bb87209e" providerId="Windows Live" clId="Web-{77F3FF6F-623F-43AC-A4C8-73ADFEB36478}" dt="2018-06-27T14:18:48.880" v="65"/>
        <pc:sldMkLst>
          <pc:docMk/>
          <pc:sldMk cId="2875681351" sldId="291"/>
        </pc:sldMkLst>
        <pc:spChg chg="mod">
          <ac:chgData name="Ignaz Kressibucher" userId="b5a1e2b0bb87209e" providerId="Windows Live" clId="Web-{77F3FF6F-623F-43AC-A4C8-73ADFEB36478}" dt="2018-06-27T14:09:36.622" v="4" actId="20577"/>
          <ac:spMkLst>
            <pc:docMk/>
            <pc:sldMk cId="2875681351" sldId="291"/>
            <ac:spMk id="2" creationId="{C8E95023-1887-4DEE-A1DB-35E070AA9BE4}"/>
          </ac:spMkLst>
        </pc:spChg>
      </pc:sldChg>
    </pc:docChg>
  </pc:docChgLst>
  <pc:docChgLst>
    <pc:chgData name="Ignaz Kressibucher" userId="b5a1e2b0bb87209e" providerId="Windows Live" clId="Web-{75BB5862-A2E5-4D8B-8DE0-1E655FCBE4AF}"/>
    <pc:docChg chg="modSld">
      <pc:chgData name="Ignaz Kressibucher" userId="b5a1e2b0bb87209e" providerId="Windows Live" clId="Web-{75BB5862-A2E5-4D8B-8DE0-1E655FCBE4AF}" dt="2018-06-27T13:54:51.014" v="280"/>
      <pc:docMkLst>
        <pc:docMk/>
      </pc:docMkLst>
      <pc:sldChg chg="modNotes">
        <pc:chgData name="Ignaz Kressibucher" userId="b5a1e2b0bb87209e" providerId="Windows Live" clId="Web-{75BB5862-A2E5-4D8B-8DE0-1E655FCBE4AF}" dt="2018-06-27T13:54:51.014" v="280"/>
        <pc:sldMkLst>
          <pc:docMk/>
          <pc:sldMk cId="39376019" sldId="265"/>
        </pc:sldMkLst>
      </pc:sldChg>
      <pc:sldChg chg="modSp modNotes">
        <pc:chgData name="Ignaz Kressibucher" userId="b5a1e2b0bb87209e" providerId="Windows Live" clId="Web-{75BB5862-A2E5-4D8B-8DE0-1E655FCBE4AF}" dt="2018-06-27T13:42:34.915" v="44" actId="20577"/>
        <pc:sldMkLst>
          <pc:docMk/>
          <pc:sldMk cId="3485867299" sldId="283"/>
        </pc:sldMkLst>
        <pc:spChg chg="mod">
          <ac:chgData name="Ignaz Kressibucher" userId="b5a1e2b0bb87209e" providerId="Windows Live" clId="Web-{75BB5862-A2E5-4D8B-8DE0-1E655FCBE4AF}" dt="2018-06-27T13:42:28.712" v="42" actId="20577"/>
          <ac:spMkLst>
            <pc:docMk/>
            <pc:sldMk cId="3485867299" sldId="283"/>
            <ac:spMk id="26" creationId="{00000000-0000-0000-0000-000000000000}"/>
          </ac:spMkLst>
        </pc:spChg>
        <pc:spChg chg="mod">
          <ac:chgData name="Ignaz Kressibucher" userId="b5a1e2b0bb87209e" providerId="Windows Live" clId="Web-{75BB5862-A2E5-4D8B-8DE0-1E655FCBE4AF}" dt="2018-06-27T13:42:34.915" v="44" actId="20577"/>
          <ac:spMkLst>
            <pc:docMk/>
            <pc:sldMk cId="3485867299" sldId="283"/>
            <ac:spMk id="32" creationId="{00000000-0000-0000-0000-000000000000}"/>
          </ac:spMkLst>
        </pc:spChg>
      </pc:sldChg>
      <pc:sldChg chg="modNotes">
        <pc:chgData name="Ignaz Kressibucher" userId="b5a1e2b0bb87209e" providerId="Windows Live" clId="Web-{75BB5862-A2E5-4D8B-8DE0-1E655FCBE4AF}" dt="2018-06-27T13:50:35.848" v="227"/>
        <pc:sldMkLst>
          <pc:docMk/>
          <pc:sldMk cId="2463784664" sldId="286"/>
        </pc:sldMkLst>
      </pc:sldChg>
      <pc:sldChg chg="modNotes">
        <pc:chgData name="Ignaz Kressibucher" userId="b5a1e2b0bb87209e" providerId="Windows Live" clId="Web-{75BB5862-A2E5-4D8B-8DE0-1E655FCBE4AF}" dt="2018-06-27T13:52:08.845" v="275"/>
        <pc:sldMkLst>
          <pc:docMk/>
          <pc:sldMk cId="1325833211" sldId="287"/>
        </pc:sldMkLst>
      </pc:sldChg>
    </pc:docChg>
  </pc:docChgLst>
  <pc:docChgLst>
    <pc:chgData name="Ignaz Kressibucher" userId="b5a1e2b0bb87209e" providerId="LiveId" clId="{A5B1A2F1-41A2-45C0-A955-6C36CB16E36F}"/>
    <pc:docChg chg="custSel delSld modSld">
      <pc:chgData name="Ignaz Kressibucher" userId="b5a1e2b0bb87209e" providerId="LiveId" clId="{A5B1A2F1-41A2-45C0-A955-6C36CB16E36F}" dt="2018-06-26T15:10:06.971" v="5" actId="2696"/>
      <pc:docMkLst>
        <pc:docMk/>
      </pc:docMkLst>
      <pc:sldChg chg="delSp delAnim">
        <pc:chgData name="Ignaz Kressibucher" userId="b5a1e2b0bb87209e" providerId="LiveId" clId="{A5B1A2F1-41A2-45C0-A955-6C36CB16E36F}" dt="2018-06-26T15:05:36.446" v="3" actId="478"/>
        <pc:sldMkLst>
          <pc:docMk/>
          <pc:sldMk cId="1396280985" sldId="277"/>
        </pc:sldMkLst>
        <pc:picChg chg="del">
          <ac:chgData name="Ignaz Kressibucher" userId="b5a1e2b0bb87209e" providerId="LiveId" clId="{A5B1A2F1-41A2-45C0-A955-6C36CB16E36F}" dt="2018-06-26T15:05:36.446" v="3" actId="478"/>
          <ac:picMkLst>
            <pc:docMk/>
            <pc:sldMk cId="1396280985" sldId="277"/>
            <ac:picMk id="6147" creationId="{00000000-0000-0000-0000-000000000000}"/>
          </ac:picMkLst>
        </pc:picChg>
      </pc:sldChg>
      <pc:sldChg chg="modNotesTx">
        <pc:chgData name="Ignaz Kressibucher" userId="b5a1e2b0bb87209e" providerId="LiveId" clId="{A5B1A2F1-41A2-45C0-A955-6C36CB16E36F}" dt="2018-06-26T15:05:09.589" v="2" actId="20577"/>
        <pc:sldMkLst>
          <pc:docMk/>
          <pc:sldMk cId="2875681351" sldId="291"/>
        </pc:sldMkLst>
      </pc:sldChg>
      <pc:sldChg chg="del">
        <pc:chgData name="Ignaz Kressibucher" userId="b5a1e2b0bb87209e" providerId="LiveId" clId="{A5B1A2F1-41A2-45C0-A955-6C36CB16E36F}" dt="2018-06-26T15:10:03.907" v="4" actId="2696"/>
        <pc:sldMkLst>
          <pc:docMk/>
          <pc:sldMk cId="4262011206" sldId="302"/>
        </pc:sldMkLst>
      </pc:sldChg>
      <pc:sldChg chg="del">
        <pc:chgData name="Ignaz Kressibucher" userId="b5a1e2b0bb87209e" providerId="LiveId" clId="{A5B1A2F1-41A2-45C0-A955-6C36CB16E36F}" dt="2018-06-26T15:10:06.971" v="5" actId="2696"/>
        <pc:sldMkLst>
          <pc:docMk/>
          <pc:sldMk cId="529215262" sldId="303"/>
        </pc:sldMkLst>
      </pc:sldChg>
    </pc:docChg>
  </pc:docChgLst>
  <pc:docChgLst>
    <pc:chgData name="Antonino Leanza" userId="00a8ac844dcaa9a0" providerId="LiveId" clId="{27DCC812-4EF5-46CB-B18C-9F2D4E99B75C}"/>
    <pc:docChg chg="undo custSel addSld modSld">
      <pc:chgData name="Antonino Leanza" userId="00a8ac844dcaa9a0" providerId="LiveId" clId="{27DCC812-4EF5-46CB-B18C-9F2D4E99B75C}" dt="2018-06-28T06:52:34.004" v="2104" actId="6549"/>
      <pc:docMkLst>
        <pc:docMk/>
      </pc:docMkLst>
      <pc:sldChg chg="modNotesTx">
        <pc:chgData name="Antonino Leanza" userId="00a8ac844dcaa9a0" providerId="LiveId" clId="{27DCC812-4EF5-46CB-B18C-9F2D4E99B75C}" dt="2018-06-28T06:25:42.476" v="1894" actId="20577"/>
        <pc:sldMkLst>
          <pc:docMk/>
          <pc:sldMk cId="487991970" sldId="259"/>
        </pc:sldMkLst>
      </pc:sldChg>
      <pc:sldChg chg="modNotesTx">
        <pc:chgData name="Antonino Leanza" userId="00a8ac844dcaa9a0" providerId="LiveId" clId="{27DCC812-4EF5-46CB-B18C-9F2D4E99B75C}" dt="2018-06-27T13:28:56.902" v="435" actId="20577"/>
        <pc:sldMkLst>
          <pc:docMk/>
          <pc:sldMk cId="1723786804" sldId="267"/>
        </pc:sldMkLst>
      </pc:sldChg>
      <pc:sldChg chg="addSp delSp modSp modAnim modNotesTx">
        <pc:chgData name="Antonino Leanza" userId="00a8ac844dcaa9a0" providerId="LiveId" clId="{27DCC812-4EF5-46CB-B18C-9F2D4E99B75C}" dt="2018-06-28T06:30:27.024" v="2029" actId="6549"/>
        <pc:sldMkLst>
          <pc:docMk/>
          <pc:sldMk cId="2262882616" sldId="268"/>
        </pc:sldMkLst>
        <pc:spChg chg="add mod">
          <ac:chgData name="Antonino Leanza" userId="00a8ac844dcaa9a0" providerId="LiveId" clId="{27DCC812-4EF5-46CB-B18C-9F2D4E99B75C}" dt="2018-06-28T05:58:02.693" v="1885" actId="1076"/>
          <ac:spMkLst>
            <pc:docMk/>
            <pc:sldMk cId="2262882616" sldId="268"/>
            <ac:spMk id="14" creationId="{C21F8EA8-CE7A-48CB-AB13-F9348E5FA982}"/>
          </ac:spMkLst>
        </pc:spChg>
        <pc:picChg chg="add mod ord">
          <ac:chgData name="Antonino Leanza" userId="00a8ac844dcaa9a0" providerId="LiveId" clId="{27DCC812-4EF5-46CB-B18C-9F2D4E99B75C}" dt="2018-06-28T05:56:01.891" v="1871" actId="1076"/>
          <ac:picMkLst>
            <pc:docMk/>
            <pc:sldMk cId="2262882616" sldId="268"/>
            <ac:picMk id="3" creationId="{6F9E617A-4BFA-49AD-8C11-61A0502BF114}"/>
          </ac:picMkLst>
        </pc:picChg>
        <pc:picChg chg="del">
          <ac:chgData name="Antonino Leanza" userId="00a8ac844dcaa9a0" providerId="LiveId" clId="{27DCC812-4EF5-46CB-B18C-9F2D4E99B75C}" dt="2018-06-27T13:33:47.451" v="821" actId="478"/>
          <ac:picMkLst>
            <pc:docMk/>
            <pc:sldMk cId="2262882616" sldId="268"/>
            <ac:picMk id="9" creationId="{9B445CE8-F7F1-4441-9CCC-B7F0EF5CF0BF}"/>
          </ac:picMkLst>
        </pc:picChg>
      </pc:sldChg>
      <pc:sldChg chg="modNotesTx">
        <pc:chgData name="Antonino Leanza" userId="00a8ac844dcaa9a0" providerId="LiveId" clId="{27DCC812-4EF5-46CB-B18C-9F2D4E99B75C}" dt="2018-06-27T13:28:44.040" v="432" actId="20577"/>
        <pc:sldMkLst>
          <pc:docMk/>
          <pc:sldMk cId="270895623" sldId="272"/>
        </pc:sldMkLst>
      </pc:sldChg>
      <pc:sldChg chg="addSp delSp modSp">
        <pc:chgData name="Antonino Leanza" userId="00a8ac844dcaa9a0" providerId="LiveId" clId="{27DCC812-4EF5-46CB-B18C-9F2D4E99B75C}" dt="2018-06-27T13:41:08.244" v="1142" actId="478"/>
        <pc:sldMkLst>
          <pc:docMk/>
          <pc:sldMk cId="2875681351" sldId="291"/>
        </pc:sldMkLst>
        <pc:picChg chg="add mod">
          <ac:chgData name="Antonino Leanza" userId="00a8ac844dcaa9a0" providerId="LiveId" clId="{27DCC812-4EF5-46CB-B18C-9F2D4E99B75C}" dt="2018-06-27T13:39:42.209" v="1138" actId="1076"/>
          <ac:picMkLst>
            <pc:docMk/>
            <pc:sldMk cId="2875681351" sldId="291"/>
            <ac:picMk id="5" creationId="{124F0B41-A74D-4B50-8E36-51AA2D1BF62D}"/>
          </ac:picMkLst>
        </pc:picChg>
        <pc:picChg chg="add del mod">
          <ac:chgData name="Antonino Leanza" userId="00a8ac844dcaa9a0" providerId="LiveId" clId="{27DCC812-4EF5-46CB-B18C-9F2D4E99B75C}" dt="2018-06-27T13:41:08.244" v="1142" actId="478"/>
          <ac:picMkLst>
            <pc:docMk/>
            <pc:sldMk cId="2875681351" sldId="291"/>
            <ac:picMk id="7" creationId="{B03CD865-7895-47DD-97FA-1852123335F7}"/>
          </ac:picMkLst>
        </pc:picChg>
      </pc:sldChg>
      <pc:sldChg chg="modNotesTx">
        <pc:chgData name="Antonino Leanza" userId="00a8ac844dcaa9a0" providerId="LiveId" clId="{27DCC812-4EF5-46CB-B18C-9F2D4E99B75C}" dt="2018-06-27T13:09:33.472" v="61" actId="20577"/>
        <pc:sldMkLst>
          <pc:docMk/>
          <pc:sldMk cId="859039311" sldId="295"/>
        </pc:sldMkLst>
      </pc:sldChg>
      <pc:sldChg chg="modNotesTx">
        <pc:chgData name="Antonino Leanza" userId="00a8ac844dcaa9a0" providerId="LiveId" clId="{27DCC812-4EF5-46CB-B18C-9F2D4E99B75C}" dt="2018-06-27T13:29:50.491" v="533" actId="20577"/>
        <pc:sldMkLst>
          <pc:docMk/>
          <pc:sldMk cId="1763957610" sldId="296"/>
        </pc:sldMkLst>
      </pc:sldChg>
      <pc:sldChg chg="modNotesTx">
        <pc:chgData name="Antonino Leanza" userId="00a8ac844dcaa9a0" providerId="LiveId" clId="{27DCC812-4EF5-46CB-B18C-9F2D4E99B75C}" dt="2018-06-27T13:35:20.865" v="993" actId="20577"/>
        <pc:sldMkLst>
          <pc:docMk/>
          <pc:sldMk cId="1409518712" sldId="297"/>
        </pc:sldMkLst>
      </pc:sldChg>
      <pc:sldChg chg="modNotesTx">
        <pc:chgData name="Antonino Leanza" userId="00a8ac844dcaa9a0" providerId="LiveId" clId="{27DCC812-4EF5-46CB-B18C-9F2D4E99B75C}" dt="2018-06-27T13:36:11.417" v="1128" actId="20577"/>
        <pc:sldMkLst>
          <pc:docMk/>
          <pc:sldMk cId="36356602" sldId="298"/>
        </pc:sldMkLst>
      </pc:sldChg>
      <pc:sldChg chg="addSp modSp modNotesTx">
        <pc:chgData name="Antonino Leanza" userId="00a8ac844dcaa9a0" providerId="LiveId" clId="{27DCC812-4EF5-46CB-B18C-9F2D4E99B75C}" dt="2018-06-28T06:52:34.004" v="2104" actId="6549"/>
        <pc:sldMkLst>
          <pc:docMk/>
          <pc:sldMk cId="1024931178" sldId="299"/>
        </pc:sldMkLst>
        <pc:spChg chg="mod">
          <ac:chgData name="Antonino Leanza" userId="00a8ac844dcaa9a0" providerId="LiveId" clId="{27DCC812-4EF5-46CB-B18C-9F2D4E99B75C}" dt="2018-06-28T06:52:34.004" v="2104" actId="6549"/>
          <ac:spMkLst>
            <pc:docMk/>
            <pc:sldMk cId="1024931178" sldId="299"/>
            <ac:spMk id="6" creationId="{7072EB2B-657F-4C2C-B77B-BE93A8EA54D8}"/>
          </ac:spMkLst>
        </pc:spChg>
        <pc:picChg chg="add mod ord">
          <ac:chgData name="Antonino Leanza" userId="00a8ac844dcaa9a0" providerId="LiveId" clId="{27DCC812-4EF5-46CB-B18C-9F2D4E99B75C}" dt="2018-06-27T13:41:23.180" v="1144" actId="1076"/>
          <ac:picMkLst>
            <pc:docMk/>
            <pc:sldMk cId="1024931178" sldId="299"/>
            <ac:picMk id="4" creationId="{9A747852-DE74-4E97-AE13-BCEE982DCA23}"/>
          </ac:picMkLst>
        </pc:picChg>
      </pc:sldChg>
      <pc:sldChg chg="addSp modSp add modNotesTx">
        <pc:chgData name="Antonino Leanza" userId="00a8ac844dcaa9a0" providerId="LiveId" clId="{27DCC812-4EF5-46CB-B18C-9F2D4E99B75C}" dt="2018-06-28T06:04:05.491" v="1892" actId="20577"/>
        <pc:sldMkLst>
          <pc:docMk/>
          <pc:sldMk cId="3080130061" sldId="302"/>
        </pc:sldMkLst>
        <pc:picChg chg="add mod">
          <ac:chgData name="Antonino Leanza" userId="00a8ac844dcaa9a0" providerId="LiveId" clId="{27DCC812-4EF5-46CB-B18C-9F2D4E99B75C}" dt="2018-06-27T13:24:56.536" v="230" actId="27614"/>
          <ac:picMkLst>
            <pc:docMk/>
            <pc:sldMk cId="3080130061" sldId="302"/>
            <ac:picMk id="4" creationId="{7CA603B2-95BE-4C6D-B847-F724EB3BFF8E}"/>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C2F57B-5750-4B6A-A326-DDE3F313EA1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de-CH"/>
        </a:p>
      </dgm:t>
    </dgm:pt>
    <dgm:pt modelId="{72C27403-A146-40B8-A12F-DC14926E0B79}">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ISO 25010</a:t>
          </a:r>
          <a:endParaRPr lang="de-CH"/>
        </a:p>
      </dgm:t>
    </dgm:pt>
    <dgm:pt modelId="{B2664321-79E9-4A86-8D29-35425E16C5AA}" type="parTrans" cxnId="{D41C1217-A9E0-4948-B06C-A32DBED26E45}">
      <dgm:prSet/>
      <dgm:spPr/>
      <dgm:t>
        <a:bodyPr/>
        <a:lstStyle/>
        <a:p>
          <a:endParaRPr lang="de-CH"/>
        </a:p>
      </dgm:t>
    </dgm:pt>
    <dgm:pt modelId="{3EE56838-98D5-43C7-BC52-46FE9D689CAB}" type="sibTrans" cxnId="{D41C1217-A9E0-4948-B06C-A32DBED26E45}">
      <dgm:prSet/>
      <dgm:spPr/>
      <dgm:t>
        <a:bodyPr/>
        <a:lstStyle/>
        <a:p>
          <a:endParaRPr lang="de-CH"/>
        </a:p>
      </dgm:t>
    </dgm:pt>
    <dgm:pt modelId="{B23B86F7-18B7-4BAD-8965-B43C66B871E7}">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Funktional</a:t>
          </a:r>
          <a:endParaRPr lang="de-CH"/>
        </a:p>
      </dgm:t>
    </dgm:pt>
    <dgm:pt modelId="{ED40AC36-A781-415B-9891-6C14DE7D74F2}" type="parTrans" cxnId="{C6A475A6-9EA0-4D48-918D-F824CACF8FB9}">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C5B7620E-EE52-4EEA-8F19-9C92AD883D9E}" type="sibTrans" cxnId="{C6A475A6-9EA0-4D48-918D-F824CACF8FB9}">
      <dgm:prSet/>
      <dgm:spPr/>
      <dgm:t>
        <a:bodyPr/>
        <a:lstStyle/>
        <a:p>
          <a:endParaRPr lang="de-CH"/>
        </a:p>
      </dgm:t>
    </dgm:pt>
    <dgm:pt modelId="{05998DBC-F4CE-4B78-989A-770EE0B23958}">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Verlässlich</a:t>
          </a:r>
          <a:endParaRPr lang="de-CH"/>
        </a:p>
      </dgm:t>
    </dgm:pt>
    <dgm:pt modelId="{8C2C0F75-AAA6-4464-BEAD-A60614248F60}" type="parTrans" cxnId="{89034D71-7EE6-41B4-9E4B-6C4F0A873DFE}">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BFC74A06-9D74-4372-8031-A6726114028F}" type="sibTrans" cxnId="{89034D71-7EE6-41B4-9E4B-6C4F0A873DFE}">
      <dgm:prSet/>
      <dgm:spPr/>
      <dgm:t>
        <a:bodyPr/>
        <a:lstStyle/>
        <a:p>
          <a:endParaRPr lang="de-CH"/>
        </a:p>
      </dgm:t>
    </dgm:pt>
    <dgm:pt modelId="{DC8E3BB6-FB8F-4305-A9C2-8E888403E969}">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Usability</a:t>
          </a:r>
          <a:endParaRPr lang="de-CH"/>
        </a:p>
      </dgm:t>
    </dgm:pt>
    <dgm:pt modelId="{6C725C6E-A80C-412A-AFCC-99B8F04D5D52}" type="parTrans" cxnId="{D83A02D3-7004-41E1-A942-5E8D059B5ADC}">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EB57E93C-0E90-40B0-84F7-33B40341D8A8}" type="sibTrans" cxnId="{D83A02D3-7004-41E1-A942-5E8D059B5ADC}">
      <dgm:prSet/>
      <dgm:spPr/>
      <dgm:t>
        <a:bodyPr/>
        <a:lstStyle/>
        <a:p>
          <a:endParaRPr lang="de-CH"/>
        </a:p>
      </dgm:t>
    </dgm:pt>
    <dgm:pt modelId="{C1E3DA06-226B-42D0-A959-F2A5C9206D19}">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Sicherheit</a:t>
          </a:r>
          <a:endParaRPr lang="de-CH"/>
        </a:p>
      </dgm:t>
    </dgm:pt>
    <dgm:pt modelId="{C5AAE4DD-8AA6-4DEA-BB41-AB647D820F04}" type="parTrans" cxnId="{33AB83A7-04B1-4D6D-A656-99DB20C43937}">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AA2C2D1F-5027-4552-A2A6-6AF4B292751D}" type="sibTrans" cxnId="{33AB83A7-04B1-4D6D-A656-99DB20C43937}">
      <dgm:prSet/>
      <dgm:spPr/>
      <dgm:t>
        <a:bodyPr/>
        <a:lstStyle/>
        <a:p>
          <a:endParaRPr lang="de-CH"/>
        </a:p>
      </dgm:t>
    </dgm:pt>
    <dgm:pt modelId="{84C00AD6-E601-4633-9041-01B87BA99E83}">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Vollständigkeit</a:t>
          </a:r>
          <a:endParaRPr lang="de-CH"/>
        </a:p>
      </dgm:t>
    </dgm:pt>
    <dgm:pt modelId="{20EF055C-C00E-41A3-AF69-460591FAD166}" type="parTrans" cxnId="{CCAA0FFF-C59B-4B83-9ECF-586F73334601}">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9A45795B-0A41-437E-9328-505B4189DD13}" type="sibTrans" cxnId="{CCAA0FFF-C59B-4B83-9ECF-586F73334601}">
      <dgm:prSet/>
      <dgm:spPr/>
      <dgm:t>
        <a:bodyPr/>
        <a:lstStyle/>
        <a:p>
          <a:endParaRPr lang="de-CH"/>
        </a:p>
      </dgm:t>
    </dgm:pt>
    <dgm:pt modelId="{2ED00F50-D9E5-4B10-9D58-3442A1DD1C64}">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Korrektheit</a:t>
          </a:r>
          <a:endParaRPr lang="de-CH"/>
        </a:p>
      </dgm:t>
    </dgm:pt>
    <dgm:pt modelId="{0725E76D-0ACB-41A7-ABAD-30268AE344EF}" type="parTrans" cxnId="{CEFFB38E-C13C-4A28-83CC-7F11216216D7}">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DA2ACBE6-DC6F-4C46-8816-E2D9B078E32F}" type="sibTrans" cxnId="{CEFFB38E-C13C-4A28-83CC-7F11216216D7}">
      <dgm:prSet/>
      <dgm:spPr/>
      <dgm:t>
        <a:bodyPr/>
        <a:lstStyle/>
        <a:p>
          <a:endParaRPr lang="de-CH"/>
        </a:p>
      </dgm:t>
    </dgm:pt>
    <dgm:pt modelId="{89CE6858-532E-4B77-A289-940C77D78C12}">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Angemessenheit</a:t>
          </a:r>
          <a:endParaRPr lang="de-CH"/>
        </a:p>
      </dgm:t>
    </dgm:pt>
    <dgm:pt modelId="{77B81E56-C106-493E-9898-234B462FC8C5}" type="parTrans" cxnId="{1D29E69E-2576-46B0-A2A3-A5E46FEC5554}">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85423115-0A62-4B24-9F9A-3DF2817286C9}" type="sibTrans" cxnId="{1D29E69E-2576-46B0-A2A3-A5E46FEC5554}">
      <dgm:prSet/>
      <dgm:spPr/>
      <dgm:t>
        <a:bodyPr/>
        <a:lstStyle/>
        <a:p>
          <a:endParaRPr lang="de-CH"/>
        </a:p>
      </dgm:t>
    </dgm:pt>
    <dgm:pt modelId="{E5EC303F-1138-4680-BC3F-CA3FA76B92D4}">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Performanz</a:t>
          </a:r>
          <a:endParaRPr lang="de-CH"/>
        </a:p>
      </dgm:t>
    </dgm:pt>
    <dgm:pt modelId="{BF97D3AD-069B-4CD3-AB5A-E51ABBEB8A85}" type="parTrans" cxnId="{D5CE5BC6-0A65-4CD4-8D85-A7960C10700B}">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1116C206-7664-4673-AAF3-5F0F12E00563}" type="sibTrans" cxnId="{D5CE5BC6-0A65-4CD4-8D85-A7960C10700B}">
      <dgm:prSet/>
      <dgm:spPr/>
      <dgm:t>
        <a:bodyPr/>
        <a:lstStyle/>
        <a:p>
          <a:endParaRPr lang="de-CH"/>
        </a:p>
      </dgm:t>
    </dgm:pt>
    <dgm:pt modelId="{4B7CBD37-45C2-4DF7-A0A1-B68F8E7340DB}">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cs typeface="Arial"/>
            </a:rPr>
            <a:t>Ausgereiftheit</a:t>
          </a:r>
          <a:endParaRPr lang="de-CH"/>
        </a:p>
      </dgm:t>
    </dgm:pt>
    <dgm:pt modelId="{1EA2826F-8497-44E5-AD60-BEEAF4D6EAA4}" type="parTrans" cxnId="{4EAA4052-4A9E-40DD-8823-FD3ED7E98F76}">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BD5F5F05-4738-4A7C-B32E-198BD6405317}" type="sibTrans" cxnId="{4EAA4052-4A9E-40DD-8823-FD3ED7E98F76}">
      <dgm:prSet/>
      <dgm:spPr/>
      <dgm:t>
        <a:bodyPr/>
        <a:lstStyle/>
        <a:p>
          <a:endParaRPr lang="de-CH"/>
        </a:p>
      </dgm:t>
    </dgm:pt>
    <dgm:pt modelId="{5716F039-2B1E-4093-B3D6-197181CC38FD}">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Verfügbarkeit</a:t>
          </a:r>
          <a:endParaRPr lang="de-CH"/>
        </a:p>
      </dgm:t>
    </dgm:pt>
    <dgm:pt modelId="{0302F593-12A3-47E8-A6B0-AA8B30A26967}" type="parTrans" cxnId="{979218C5-9FED-43A6-A555-66F3DC36F7E6}">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C2B8F725-2430-4879-AC50-3D0A3F831972}" type="sibTrans" cxnId="{979218C5-9FED-43A6-A555-66F3DC36F7E6}">
      <dgm:prSet/>
      <dgm:spPr/>
      <dgm:t>
        <a:bodyPr/>
        <a:lstStyle/>
        <a:p>
          <a:endParaRPr lang="de-CH"/>
        </a:p>
      </dgm:t>
    </dgm:pt>
    <dgm:pt modelId="{FAE87998-2D1B-44B2-8407-390208CDDE81}">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Wieder-herstellbarkeit</a:t>
          </a:r>
          <a:endParaRPr lang="de-CH"/>
        </a:p>
      </dgm:t>
    </dgm:pt>
    <dgm:pt modelId="{E5EA6048-7DC1-47C9-B5FB-9B646133740B}" type="parTrans" cxnId="{0375AA16-9E01-4EE1-A924-64758BC840DE}">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A5776558-B6E0-4862-9A43-F32F4BF99C48}" type="sibTrans" cxnId="{0375AA16-9E01-4EE1-A924-64758BC840DE}">
      <dgm:prSet/>
      <dgm:spPr/>
      <dgm:t>
        <a:bodyPr/>
        <a:lstStyle/>
        <a:p>
          <a:endParaRPr lang="de-CH"/>
        </a:p>
      </dgm:t>
    </dgm:pt>
    <dgm:pt modelId="{F84C515C-E2DF-4995-A62A-F945878508F9}">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Fehlertoleranz</a:t>
          </a:r>
          <a:endParaRPr lang="de-CH"/>
        </a:p>
      </dgm:t>
    </dgm:pt>
    <dgm:pt modelId="{5264ACD6-02A2-450B-8B79-0C5B11442345}" type="parTrans" cxnId="{7B99284D-C197-4BC8-A0CE-152D27D926A5}">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A24B2B28-060E-490E-A1A5-8D9780917C14}" type="sibTrans" cxnId="{7B99284D-C197-4BC8-A0CE-152D27D926A5}">
      <dgm:prSet/>
      <dgm:spPr/>
      <dgm:t>
        <a:bodyPr/>
        <a:lstStyle/>
        <a:p>
          <a:endParaRPr lang="de-CH"/>
        </a:p>
      </dgm:t>
    </dgm:pt>
    <dgm:pt modelId="{3F982FA0-5264-45C7-86B0-F764B0253E49}">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Leichter</a:t>
          </a:r>
          <a:r>
            <a:rPr lang="en-US"/>
            <a:t> </a:t>
          </a:r>
          <a:r>
            <a:rPr lang="en-US" err="1"/>
            <a:t>Zugang</a:t>
          </a:r>
          <a:endParaRPr lang="de-CH"/>
        </a:p>
      </dgm:t>
    </dgm:pt>
    <dgm:pt modelId="{2555A0DD-F735-4347-8429-0124C126FD9A}" type="parTrans" cxnId="{949B6473-095B-481B-9668-BD0316472E29}">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8AF87CBA-7F46-45D6-A05A-5EF075E8AF36}" type="sibTrans" cxnId="{949B6473-095B-481B-9668-BD0316472E29}">
      <dgm:prSet/>
      <dgm:spPr/>
      <dgm:t>
        <a:bodyPr/>
        <a:lstStyle/>
        <a:p>
          <a:endParaRPr lang="de-CH"/>
        </a:p>
      </dgm:t>
    </dgm:pt>
    <dgm:pt modelId="{FF294872-3124-4D2C-AF62-A50F79E37314}">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Leicht </a:t>
          </a:r>
          <a:r>
            <a:rPr lang="en-US" err="1"/>
            <a:t>erlernbar</a:t>
          </a:r>
          <a:endParaRPr lang="en-US"/>
        </a:p>
      </dgm:t>
    </dgm:pt>
    <dgm:pt modelId="{6927CE39-BA77-4AC6-BF06-6FC507BAD02A}" type="parTrans" cxnId="{54E69261-B6F7-43EA-A574-DF4942F8B8B9}">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65399FE5-5DCA-449F-BB1C-B9C4EC202458}" type="sibTrans" cxnId="{54E69261-B6F7-43EA-A574-DF4942F8B8B9}">
      <dgm:prSet/>
      <dgm:spPr/>
      <dgm:t>
        <a:bodyPr/>
        <a:lstStyle/>
        <a:p>
          <a:endParaRPr lang="de-CH"/>
        </a:p>
      </dgm:t>
    </dgm:pt>
    <dgm:pt modelId="{7846CFA0-5FEE-4CC4-831F-D86729DEE370}">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Schutz </a:t>
          </a:r>
          <a:r>
            <a:rPr lang="en-US" err="1"/>
            <a:t>vor</a:t>
          </a:r>
          <a:r>
            <a:rPr lang="en-US"/>
            <a:t> Fehl-</a:t>
          </a:r>
          <a:r>
            <a:rPr lang="en-US" err="1"/>
            <a:t>bedienung</a:t>
          </a:r>
          <a:r>
            <a:rPr lang="en-US"/>
            <a:t> </a:t>
          </a:r>
          <a:r>
            <a:rPr lang="en-US" err="1"/>
            <a:t>durch</a:t>
          </a:r>
          <a:r>
            <a:rPr lang="en-US"/>
            <a:t> den </a:t>
          </a:r>
          <a:r>
            <a:rPr lang="en-US" err="1"/>
            <a:t>Nutzer</a:t>
          </a:r>
          <a:endParaRPr lang="de-CH"/>
        </a:p>
      </dgm:t>
    </dgm:pt>
    <dgm:pt modelId="{F8F19FC5-74B5-4E69-900C-398AD45DA390}" type="parTrans" cxnId="{69D0F8F2-89F4-46E2-88A3-550B3BABF403}">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C0194770-F4C0-4B5E-A396-A8648D05063E}" type="sibTrans" cxnId="{69D0F8F2-89F4-46E2-88A3-550B3BABF403}">
      <dgm:prSet/>
      <dgm:spPr/>
      <dgm:t>
        <a:bodyPr/>
        <a:lstStyle/>
        <a:p>
          <a:endParaRPr lang="de-CH"/>
        </a:p>
      </dgm:t>
    </dgm:pt>
    <dgm:pt modelId="{17FAD9F0-769D-42EB-9F24-4DE9DA7E861F}">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Ästhetisches</a:t>
          </a:r>
          <a:r>
            <a:rPr lang="en-US"/>
            <a:t> User Interface</a:t>
          </a:r>
          <a:endParaRPr lang="de-CH"/>
        </a:p>
      </dgm:t>
    </dgm:pt>
    <dgm:pt modelId="{8F088758-D171-4F6A-B077-159CD42ACA2E}" type="parTrans" cxnId="{BBA159D9-24D7-4DCD-92C2-8D4966CAABAE}">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CB40D4CB-0A68-420C-B792-B5029A9404F5}" type="sibTrans" cxnId="{BBA159D9-24D7-4DCD-92C2-8D4966CAABAE}">
      <dgm:prSet/>
      <dgm:spPr/>
      <dgm:t>
        <a:bodyPr/>
        <a:lstStyle/>
        <a:p>
          <a:endParaRPr lang="de-CH"/>
        </a:p>
      </dgm:t>
    </dgm:pt>
    <dgm:pt modelId="{DB67427C-D6F8-467A-AD38-4C738C7936BE}">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Optimale</a:t>
          </a:r>
          <a:r>
            <a:rPr lang="en-US"/>
            <a:t> </a:t>
          </a:r>
          <a:r>
            <a:rPr lang="en-US" err="1"/>
            <a:t>Erkennbarkeit</a:t>
          </a:r>
          <a:endParaRPr lang="de-CH"/>
        </a:p>
      </dgm:t>
    </dgm:pt>
    <dgm:pt modelId="{0712D797-13DD-4638-B950-18DD83B15203}" type="parTrans" cxnId="{D26DEF5F-D9D6-4ECF-B322-705FB02AED2F}">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4EBF56BF-5AAF-4D57-A385-8D35222891D0}" type="sibTrans" cxnId="{D26DEF5F-D9D6-4ECF-B322-705FB02AED2F}">
      <dgm:prSet/>
      <dgm:spPr/>
      <dgm:t>
        <a:bodyPr/>
        <a:lstStyle/>
        <a:p>
          <a:endParaRPr lang="de-CH"/>
        </a:p>
      </dgm:t>
    </dgm:pt>
    <dgm:pt modelId="{A64E2D5F-C43C-4747-ACF7-F82AD0BEBE55}">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Wartbakeit</a:t>
          </a:r>
          <a:endParaRPr lang="de-CH"/>
        </a:p>
      </dgm:t>
    </dgm:pt>
    <dgm:pt modelId="{7113C5A8-B88E-4E3A-9BEA-9B2A8145AC06}" type="parTrans" cxnId="{A3618845-BAEA-4ED0-B026-3E98C9546A0C}">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8429B566-75E9-4D8F-81FF-6AB548D10070}" type="sibTrans" cxnId="{A3618845-BAEA-4ED0-B026-3E98C9546A0C}">
      <dgm:prSet/>
      <dgm:spPr/>
      <dgm:t>
        <a:bodyPr/>
        <a:lstStyle/>
        <a:p>
          <a:endParaRPr lang="de-CH"/>
        </a:p>
      </dgm:t>
    </dgm:pt>
    <dgm:pt modelId="{1BAD0339-BDBC-4854-BE37-643EB62AD91D}">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Portabilität</a:t>
          </a:r>
          <a:endParaRPr lang="de-CH"/>
        </a:p>
      </dgm:t>
    </dgm:pt>
    <dgm:pt modelId="{BD33EAFB-685A-428B-AE9E-67B8914004AF}" type="parTrans" cxnId="{4E2549DD-65B6-4BD4-8272-E1268B65BC61}">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74013E77-52AD-4B5E-89EA-43E53262A615}" type="sibTrans" cxnId="{4E2549DD-65B6-4BD4-8272-E1268B65BC61}">
      <dgm:prSet/>
      <dgm:spPr/>
      <dgm:t>
        <a:bodyPr/>
        <a:lstStyle/>
        <a:p>
          <a:endParaRPr lang="de-CH"/>
        </a:p>
      </dgm:t>
    </dgm:pt>
    <dgm:pt modelId="{02B9D0B1-10F3-4A5A-86EC-3655FF1448AF}">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Kompatibilität</a:t>
          </a:r>
          <a:endParaRPr lang="de-CH"/>
        </a:p>
      </dgm:t>
    </dgm:pt>
    <dgm:pt modelId="{24F2D21D-FF47-4747-9182-92CAC3C1666E}" type="parTrans" cxnId="{E5273F2A-EA5A-49CC-B604-C0A2A27ED202}">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A7F18DAE-70AB-43A2-AD76-65697035243A}" type="sibTrans" cxnId="{E5273F2A-EA5A-49CC-B604-C0A2A27ED202}">
      <dgm:prSet/>
      <dgm:spPr/>
      <dgm:t>
        <a:bodyPr/>
        <a:lstStyle/>
        <a:p>
          <a:endParaRPr lang="de-CH"/>
        </a:p>
      </dgm:t>
    </dgm:pt>
    <dgm:pt modelId="{14B02E31-D097-466C-9AFE-EDE19E96DB55}">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Datenschutz</a:t>
          </a:r>
          <a:endParaRPr lang="de-CH"/>
        </a:p>
      </dgm:t>
    </dgm:pt>
    <dgm:pt modelId="{B515B60E-B556-4EC3-8BDA-C4CBD086FC94}" type="parTrans" cxnId="{327DDB1F-5DD2-4874-B9F1-5229115AE70B}">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D7415AB3-DC07-46A5-9850-5A8B1221F3AE}" type="sibTrans" cxnId="{327DDB1F-5DD2-4874-B9F1-5229115AE70B}">
      <dgm:prSet/>
      <dgm:spPr/>
      <dgm:t>
        <a:bodyPr/>
        <a:lstStyle/>
        <a:p>
          <a:endParaRPr lang="de-CH"/>
        </a:p>
      </dgm:t>
    </dgm:pt>
    <dgm:pt modelId="{8C8C6045-B54E-41CA-8F77-4F8DA1F80EAF}">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Integrität</a:t>
          </a:r>
          <a:endParaRPr lang="de-CH"/>
        </a:p>
      </dgm:t>
    </dgm:pt>
    <dgm:pt modelId="{B249360D-361A-4AFE-9882-2B1325C63737}" type="parTrans" cxnId="{505DAD55-8E60-4223-944B-2DB677FD3449}">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380E4394-EE37-4713-BAFA-C7FD6179D673}" type="sibTrans" cxnId="{505DAD55-8E60-4223-944B-2DB677FD3449}">
      <dgm:prSet/>
      <dgm:spPr/>
      <dgm:t>
        <a:bodyPr/>
        <a:lstStyle/>
        <a:p>
          <a:endParaRPr lang="de-CH"/>
        </a:p>
      </dgm:t>
    </dgm:pt>
    <dgm:pt modelId="{47B33EA5-7598-4255-9C08-0CC2B1936F83}">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Nicht</a:t>
          </a:r>
          <a:r>
            <a:rPr lang="en-US"/>
            <a:t> </a:t>
          </a:r>
          <a:r>
            <a:rPr lang="en-US" err="1"/>
            <a:t>manipulierbar</a:t>
          </a:r>
          <a:endParaRPr lang="de-CH"/>
        </a:p>
      </dgm:t>
    </dgm:pt>
    <dgm:pt modelId="{5E2EEC87-B495-4FBA-8770-88C48BBB809F}" type="parTrans" cxnId="{7A5D37F6-804C-43E4-9870-565AFB102278}">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FC001C4E-1493-4256-AD94-FB5C2E3206B6}" type="sibTrans" cxnId="{7A5D37F6-804C-43E4-9870-565AFB102278}">
      <dgm:prSet/>
      <dgm:spPr/>
      <dgm:t>
        <a:bodyPr/>
        <a:lstStyle/>
        <a:p>
          <a:endParaRPr lang="de-CH"/>
        </a:p>
      </dgm:t>
    </dgm:pt>
    <dgm:pt modelId="{F9387571-4CB4-4925-9027-9675041274D1}">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Sichere</a:t>
          </a:r>
          <a:r>
            <a:rPr lang="en-US"/>
            <a:t> Administration</a:t>
          </a:r>
          <a:endParaRPr lang="de-CH"/>
        </a:p>
      </dgm:t>
    </dgm:pt>
    <dgm:pt modelId="{72E6590A-2DF1-4790-AD6B-14C26B56FFFA}" type="parTrans" cxnId="{8C594DE9-47BB-4A47-8537-D59537E4A610}">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9C067768-C447-4E7D-9FF8-FDF0A95699F9}" type="sibTrans" cxnId="{8C594DE9-47BB-4A47-8537-D59537E4A610}">
      <dgm:prSet/>
      <dgm:spPr/>
      <dgm:t>
        <a:bodyPr/>
        <a:lstStyle/>
        <a:p>
          <a:endParaRPr lang="de-CH"/>
        </a:p>
      </dgm:t>
    </dgm:pt>
    <dgm:pt modelId="{106FC939-E920-479E-81B2-CC93319A1582}">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Authentizier-barkeit</a:t>
          </a:r>
          <a:endParaRPr lang="de-CH"/>
        </a:p>
      </dgm:t>
    </dgm:pt>
    <dgm:pt modelId="{773B7B88-152B-414C-8219-EAA526FBC88A}" type="parTrans" cxnId="{82C69C44-537F-4579-A30D-762254251E1B}">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C1812CF6-1F27-406A-AF49-1EBEF6D5729B}" type="sibTrans" cxnId="{82C69C44-537F-4579-A30D-762254251E1B}">
      <dgm:prSet/>
      <dgm:spPr/>
      <dgm:t>
        <a:bodyPr/>
        <a:lstStyle/>
        <a:p>
          <a:endParaRPr lang="de-CH"/>
        </a:p>
      </dgm:t>
    </dgm:pt>
    <dgm:pt modelId="{E57B87A0-5E8B-4FB9-9E1A-EC4EB1068CCA}">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Zeitverhalten</a:t>
          </a:r>
          <a:endParaRPr lang="de-CH"/>
        </a:p>
      </dgm:t>
    </dgm:pt>
    <dgm:pt modelId="{726E85A0-8986-401C-A322-099978380449}" type="parTrans" cxnId="{53021FFA-1CA2-4810-8DBA-86742F5C6C23}">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39DC8717-AC4B-4EA5-99E5-B6CE1F5986DA}" type="sibTrans" cxnId="{53021FFA-1CA2-4810-8DBA-86742F5C6C23}">
      <dgm:prSet/>
      <dgm:spPr/>
      <dgm:t>
        <a:bodyPr/>
        <a:lstStyle/>
        <a:p>
          <a:endParaRPr lang="de-CH"/>
        </a:p>
      </dgm:t>
    </dgm:pt>
    <dgm:pt modelId="{1196B74F-9EC9-4954-BDB0-994983939F08}">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Ressourcen</a:t>
          </a:r>
          <a:r>
            <a:rPr lang="en-US"/>
            <a:t> </a:t>
          </a:r>
          <a:r>
            <a:rPr lang="en-US" err="1"/>
            <a:t>effektiv</a:t>
          </a:r>
          <a:r>
            <a:rPr lang="en-US"/>
            <a:t> </a:t>
          </a:r>
          <a:r>
            <a:rPr lang="en-US" err="1"/>
            <a:t>nutzen</a:t>
          </a:r>
          <a:endParaRPr lang="de-CH"/>
        </a:p>
      </dgm:t>
    </dgm:pt>
    <dgm:pt modelId="{31C02FE0-114F-434B-B7BD-71F2AE6FEE6A}" type="parTrans" cxnId="{1447F936-CEB0-4953-AC40-1365D82E43B6}">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BDD01B11-E7E4-40AA-947E-F8D9055EAC73}" type="sibTrans" cxnId="{1447F936-CEB0-4953-AC40-1365D82E43B6}">
      <dgm:prSet/>
      <dgm:spPr/>
      <dgm:t>
        <a:bodyPr/>
        <a:lstStyle/>
        <a:p>
          <a:endParaRPr lang="de-CH"/>
        </a:p>
      </dgm:t>
    </dgm:pt>
    <dgm:pt modelId="{E0E46185-6776-43F6-A618-B155CAF0B76B}">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Kapazitäten</a:t>
          </a:r>
          <a:r>
            <a:rPr lang="en-US"/>
            <a:t> </a:t>
          </a:r>
          <a:r>
            <a:rPr lang="en-US" err="1"/>
            <a:t>schonen</a:t>
          </a:r>
          <a:endParaRPr lang="de-CH"/>
        </a:p>
      </dgm:t>
    </dgm:pt>
    <dgm:pt modelId="{249E0112-6ED6-4685-9D67-47AE6E5D7050}" type="parTrans" cxnId="{B24EE611-5347-468F-8FC0-3008E283A983}">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D0066A0B-4ACB-4E96-A1C4-E788F760583C}" type="sibTrans" cxnId="{B24EE611-5347-468F-8FC0-3008E283A983}">
      <dgm:prSet/>
      <dgm:spPr/>
      <dgm:t>
        <a:bodyPr/>
        <a:lstStyle/>
        <a:p>
          <a:endParaRPr lang="de-CH"/>
        </a:p>
      </dgm:t>
    </dgm:pt>
    <dgm:pt modelId="{181F6BCB-F6A1-478B-B07A-ED279F58003B}">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Modularer</a:t>
          </a:r>
          <a:r>
            <a:rPr lang="en-US"/>
            <a:t> Aufbau</a:t>
          </a:r>
          <a:endParaRPr lang="de-CH"/>
        </a:p>
      </dgm:t>
    </dgm:pt>
    <dgm:pt modelId="{82351CB1-8020-47E0-920E-C4C8CBE9A277}" type="parTrans" cxnId="{BBD09E6D-B5A0-4278-B95A-283D94CA852F}">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B149B3B0-32ED-4000-A23F-CDAC3DB97ACF}" type="sibTrans" cxnId="{BBD09E6D-B5A0-4278-B95A-283D94CA852F}">
      <dgm:prSet/>
      <dgm:spPr/>
      <dgm:t>
        <a:bodyPr/>
        <a:lstStyle/>
        <a:p>
          <a:endParaRPr lang="de-CH"/>
        </a:p>
      </dgm:t>
    </dgm:pt>
    <dgm:pt modelId="{0196A6F6-816C-471E-AB20-E45792B4C6D1}">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Wieder-verwendbarkeit</a:t>
          </a:r>
          <a:endParaRPr lang="de-CH"/>
        </a:p>
      </dgm:t>
    </dgm:pt>
    <dgm:pt modelId="{2BB967EC-A49C-447A-9F6A-D3CBBB34A6E5}" type="parTrans" cxnId="{0B72D03F-B453-442D-826D-806801B6315C}">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2C4B0126-0289-419A-9EB4-C61800D08DA1}" type="sibTrans" cxnId="{0B72D03F-B453-442D-826D-806801B6315C}">
      <dgm:prSet/>
      <dgm:spPr/>
      <dgm:t>
        <a:bodyPr/>
        <a:lstStyle/>
        <a:p>
          <a:endParaRPr lang="de-CH"/>
        </a:p>
      </dgm:t>
    </dgm:pt>
    <dgm:pt modelId="{8D566F71-C339-43C0-B127-AA3B5BBEEA81}">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Gute</a:t>
          </a:r>
          <a:r>
            <a:rPr lang="en-US"/>
            <a:t> </a:t>
          </a:r>
          <a:r>
            <a:rPr lang="en-US" err="1"/>
            <a:t>Analyse-Funktion</a:t>
          </a:r>
          <a:endParaRPr lang="de-CH"/>
        </a:p>
      </dgm:t>
    </dgm:pt>
    <dgm:pt modelId="{FCB6C723-526A-4615-AF06-B57C072EE490}" type="parTrans" cxnId="{022674D1-2450-4805-82A7-5A07508CB969}">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A292A115-62F7-4DB9-B49B-0748F9E078FA}" type="sibTrans" cxnId="{022674D1-2450-4805-82A7-5A07508CB969}">
      <dgm:prSet/>
      <dgm:spPr/>
      <dgm:t>
        <a:bodyPr/>
        <a:lstStyle/>
        <a:p>
          <a:endParaRPr lang="de-CH"/>
        </a:p>
      </dgm:t>
    </dgm:pt>
    <dgm:pt modelId="{F7473160-6401-4249-9EBD-E80E33F705AA}">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Leicht </a:t>
          </a:r>
          <a:r>
            <a:rPr lang="en-US" err="1"/>
            <a:t>modifizierbar</a:t>
          </a:r>
          <a:endParaRPr lang="de-CH"/>
        </a:p>
      </dgm:t>
    </dgm:pt>
    <dgm:pt modelId="{49D6BAE6-302F-4E58-9979-F1E5AB1CF744}" type="parTrans" cxnId="{A39EBB23-CB97-4488-A081-CB596E7E2A4D}">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DAC4BA11-AE1A-4343-9496-2D60AA10B29B}" type="sibTrans" cxnId="{A39EBB23-CB97-4488-A081-CB596E7E2A4D}">
      <dgm:prSet/>
      <dgm:spPr/>
      <dgm:t>
        <a:bodyPr/>
        <a:lstStyle/>
        <a:p>
          <a:endParaRPr lang="de-CH"/>
        </a:p>
      </dgm:t>
    </dgm:pt>
    <dgm:pt modelId="{6D1100EC-6D1C-42B6-828D-5C282262EB3D}">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Umfangreiche</a:t>
          </a:r>
          <a:r>
            <a:rPr lang="en-US"/>
            <a:t> </a:t>
          </a:r>
          <a:r>
            <a:rPr lang="en-US" err="1"/>
            <a:t>Testoptionen</a:t>
          </a:r>
          <a:endParaRPr lang="de-CH"/>
        </a:p>
      </dgm:t>
    </dgm:pt>
    <dgm:pt modelId="{BE5200FD-9E36-4B7E-9BB9-6B210721338D}" type="parTrans" cxnId="{3BCD6253-1807-47EC-8042-5BC4D9860D95}">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BBB5F7E2-7843-4F36-95E8-E45DF0CDA17C}" type="sibTrans" cxnId="{3BCD6253-1807-47EC-8042-5BC4D9860D95}">
      <dgm:prSet/>
      <dgm:spPr/>
      <dgm:t>
        <a:bodyPr/>
        <a:lstStyle/>
        <a:p>
          <a:endParaRPr lang="de-CH"/>
        </a:p>
      </dgm:t>
    </dgm:pt>
    <dgm:pt modelId="{77511F1D-8EF9-491B-BF10-301FB6800E8D}">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a:t>Leicht </a:t>
          </a:r>
          <a:r>
            <a:rPr lang="en-US" err="1"/>
            <a:t>zu</a:t>
          </a:r>
          <a:r>
            <a:rPr lang="en-US"/>
            <a:t> </a:t>
          </a:r>
          <a:r>
            <a:rPr lang="en-US" err="1"/>
            <a:t>installieren</a:t>
          </a:r>
          <a:endParaRPr lang="de-CH"/>
        </a:p>
      </dgm:t>
    </dgm:pt>
    <dgm:pt modelId="{07CD2C50-9631-426F-8CD9-8C3ED0F7150C}" type="parTrans" cxnId="{1E61986D-9291-49C7-92CD-3320502138D3}">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DE89A548-3628-4953-871B-C58A74935391}" type="sibTrans" cxnId="{1E61986D-9291-49C7-92CD-3320502138D3}">
      <dgm:prSet/>
      <dgm:spPr/>
      <dgm:t>
        <a:bodyPr/>
        <a:lstStyle/>
        <a:p>
          <a:endParaRPr lang="de-CH"/>
        </a:p>
      </dgm:t>
    </dgm:pt>
    <dgm:pt modelId="{0BA256EB-6C1A-404A-9822-552F48888EDD}">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Einfach</a:t>
          </a:r>
          <a:r>
            <a:rPr lang="en-US"/>
            <a:t> </a:t>
          </a:r>
          <a:r>
            <a:rPr lang="en-US" err="1"/>
            <a:t>austauschbar</a:t>
          </a:r>
          <a:endParaRPr lang="de-CH"/>
        </a:p>
      </dgm:t>
    </dgm:pt>
    <dgm:pt modelId="{ED27F5D7-8728-4C73-9048-C123C87360BE}" type="parTrans" cxnId="{70A982B1-8654-46A3-A539-269BC7C78144}">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AF59B65E-BE3B-4DF2-AE4F-1F6334E21565}" type="sibTrans" cxnId="{70A982B1-8654-46A3-A539-269BC7C78144}">
      <dgm:prSet/>
      <dgm:spPr/>
      <dgm:t>
        <a:bodyPr/>
        <a:lstStyle/>
        <a:p>
          <a:endParaRPr lang="de-CH"/>
        </a:p>
      </dgm:t>
    </dgm:pt>
    <dgm:pt modelId="{6B180080-FC16-4518-9576-942BA4F66AF6}">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Gute</a:t>
          </a:r>
          <a:r>
            <a:rPr lang="en-US"/>
            <a:t> </a:t>
          </a:r>
          <a:br>
            <a:rPr lang="en-US">
              <a:solidFill>
                <a:srgbClr val="010000"/>
              </a:solidFill>
            </a:rPr>
          </a:br>
          <a:r>
            <a:rPr lang="en-US" err="1"/>
            <a:t>Adaptivität</a:t>
          </a:r>
          <a:endParaRPr lang="de-CH"/>
        </a:p>
      </dgm:t>
    </dgm:pt>
    <dgm:pt modelId="{A38FBAD2-2F31-4110-AD4F-ADD92701D6A4}" type="parTrans" cxnId="{176FAF56-74D1-46F2-BF9F-458C9D8A4971}">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284EEA33-02C2-4C54-A11D-13679F092C92}" type="sibTrans" cxnId="{176FAF56-74D1-46F2-BF9F-458C9D8A4971}">
      <dgm:prSet/>
      <dgm:spPr/>
      <dgm:t>
        <a:bodyPr/>
        <a:lstStyle/>
        <a:p>
          <a:endParaRPr lang="de-CH"/>
        </a:p>
      </dgm:t>
    </dgm:pt>
    <dgm:pt modelId="{69ACE048-1DE8-495F-B5A8-1ED1978FE5A0}">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Optimale</a:t>
          </a:r>
          <a:r>
            <a:rPr lang="en-US"/>
            <a:t> Co-</a:t>
          </a:r>
          <a:r>
            <a:rPr lang="en-US" err="1"/>
            <a:t>Existenz</a:t>
          </a:r>
          <a:r>
            <a:rPr lang="en-US"/>
            <a:t> </a:t>
          </a:r>
          <a:r>
            <a:rPr lang="en-US" err="1"/>
            <a:t>zu</a:t>
          </a:r>
          <a:r>
            <a:rPr lang="en-US"/>
            <a:t> </a:t>
          </a:r>
          <a:r>
            <a:rPr lang="en-US" err="1"/>
            <a:t>weiterer</a:t>
          </a:r>
          <a:r>
            <a:rPr lang="en-US"/>
            <a:t> SW</a:t>
          </a:r>
          <a:endParaRPr lang="de-CH"/>
        </a:p>
      </dgm:t>
    </dgm:pt>
    <dgm:pt modelId="{3B9D4EB4-4DDC-4AD4-9680-41034701E8E3}" type="parTrans" cxnId="{48C201DA-811A-4037-AD85-781AF4E92506}">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E870097B-B135-4B52-AE60-3511FD521460}" type="sibTrans" cxnId="{48C201DA-811A-4037-AD85-781AF4E92506}">
      <dgm:prSet/>
      <dgm:spPr/>
      <dgm:t>
        <a:bodyPr/>
        <a:lstStyle/>
        <a:p>
          <a:endParaRPr lang="de-CH"/>
        </a:p>
      </dgm:t>
    </dgm:pt>
    <dgm:pt modelId="{D722B236-29C7-41B6-83DE-E0371B2F5575}">
      <dgm:prSet phldrT="[Text]">
        <dgm:style>
          <a:lnRef idx="1">
            <a:schemeClr val="dk1"/>
          </a:lnRef>
          <a:fillRef idx="3">
            <a:schemeClr val="dk1"/>
          </a:fillRef>
          <a:effectRef idx="2">
            <a:schemeClr val="dk1"/>
          </a:effectRef>
          <a:fontRef idx="minor">
            <a:schemeClr val="lt1"/>
          </a:fontRef>
        </dgm:style>
      </dgm:prSet>
      <dgm:spPr>
        <a:effectLst/>
      </dgm:spPr>
      <dgm:t>
        <a:bodyPr/>
        <a:lstStyle/>
        <a:p>
          <a:r>
            <a:rPr lang="en-US" err="1"/>
            <a:t>Interoperabel</a:t>
          </a:r>
          <a:endParaRPr lang="de-CH"/>
        </a:p>
      </dgm:t>
    </dgm:pt>
    <dgm:pt modelId="{52D862E3-E0F4-40A3-92EA-1D9EB59C2EA6}" type="parTrans" cxnId="{E173B30A-E882-4144-9C96-373EA0A08A57}">
      <dgm:prSet>
        <dgm:style>
          <a:lnRef idx="1">
            <a:schemeClr val="dk1"/>
          </a:lnRef>
          <a:fillRef idx="3">
            <a:schemeClr val="dk1"/>
          </a:fillRef>
          <a:effectRef idx="2">
            <a:schemeClr val="dk1"/>
          </a:effectRef>
          <a:fontRef idx="minor">
            <a:schemeClr val="lt1"/>
          </a:fontRef>
        </dgm:style>
      </dgm:prSet>
      <dgm:spPr>
        <a:effectLst/>
      </dgm:spPr>
      <dgm:t>
        <a:bodyPr/>
        <a:lstStyle/>
        <a:p>
          <a:endParaRPr lang="de-CH"/>
        </a:p>
      </dgm:t>
    </dgm:pt>
    <dgm:pt modelId="{59662A00-7962-457C-9BD3-DF2202518DA5}" type="sibTrans" cxnId="{E173B30A-E882-4144-9C96-373EA0A08A57}">
      <dgm:prSet/>
      <dgm:spPr/>
      <dgm:t>
        <a:bodyPr/>
        <a:lstStyle/>
        <a:p>
          <a:endParaRPr lang="de-CH"/>
        </a:p>
      </dgm:t>
    </dgm:pt>
    <dgm:pt modelId="{92389A04-75E2-49EF-B186-D17B3BF3F6AC}" type="pres">
      <dgm:prSet presAssocID="{75C2F57B-5750-4B6A-A326-DDE3F313EA14}" presName="hierChild1" presStyleCnt="0">
        <dgm:presLayoutVars>
          <dgm:orgChart val="1"/>
          <dgm:chPref val="1"/>
          <dgm:dir/>
          <dgm:animOne val="branch"/>
          <dgm:animLvl val="lvl"/>
          <dgm:resizeHandles/>
        </dgm:presLayoutVars>
      </dgm:prSet>
      <dgm:spPr/>
    </dgm:pt>
    <dgm:pt modelId="{113FCB6D-3CC1-4EC2-A3D7-F740C54EE986}" type="pres">
      <dgm:prSet presAssocID="{72C27403-A146-40B8-A12F-DC14926E0B79}" presName="hierRoot1" presStyleCnt="0">
        <dgm:presLayoutVars>
          <dgm:hierBranch val="init"/>
        </dgm:presLayoutVars>
      </dgm:prSet>
      <dgm:spPr/>
    </dgm:pt>
    <dgm:pt modelId="{AAE79A74-AB7C-4368-B68E-B75DF389FC43}" type="pres">
      <dgm:prSet presAssocID="{72C27403-A146-40B8-A12F-DC14926E0B79}" presName="rootComposite1" presStyleCnt="0"/>
      <dgm:spPr/>
    </dgm:pt>
    <dgm:pt modelId="{E95EBB54-BD0A-4C7A-8628-899DD8A1A5A1}" type="pres">
      <dgm:prSet presAssocID="{72C27403-A146-40B8-A12F-DC14926E0B79}" presName="rootText1" presStyleLbl="node0" presStyleIdx="0" presStyleCnt="1">
        <dgm:presLayoutVars>
          <dgm:chPref val="3"/>
        </dgm:presLayoutVars>
      </dgm:prSet>
      <dgm:spPr/>
    </dgm:pt>
    <dgm:pt modelId="{316F9CA7-8186-4E3B-8378-11E8BFAF851D}" type="pres">
      <dgm:prSet presAssocID="{72C27403-A146-40B8-A12F-DC14926E0B79}" presName="rootConnector1" presStyleLbl="node1" presStyleIdx="0" presStyleCnt="0"/>
      <dgm:spPr/>
    </dgm:pt>
    <dgm:pt modelId="{B7701242-17D1-4310-93FB-498D5CB7EDCD}" type="pres">
      <dgm:prSet presAssocID="{72C27403-A146-40B8-A12F-DC14926E0B79}" presName="hierChild2" presStyleCnt="0"/>
      <dgm:spPr/>
    </dgm:pt>
    <dgm:pt modelId="{C4650E12-3CE6-4296-988C-CC7B48C1D387}" type="pres">
      <dgm:prSet presAssocID="{ED40AC36-A781-415B-9891-6C14DE7D74F2}" presName="Name37" presStyleLbl="parChTrans1D2" presStyleIdx="0" presStyleCnt="8"/>
      <dgm:spPr/>
    </dgm:pt>
    <dgm:pt modelId="{48EBF4F0-3250-45C9-8C88-D2E0E04AA15F}" type="pres">
      <dgm:prSet presAssocID="{B23B86F7-18B7-4BAD-8965-B43C66B871E7}" presName="hierRoot2" presStyleCnt="0">
        <dgm:presLayoutVars>
          <dgm:hierBranch val="init"/>
        </dgm:presLayoutVars>
      </dgm:prSet>
      <dgm:spPr/>
    </dgm:pt>
    <dgm:pt modelId="{E0A45776-E0CC-4122-8051-70525F42CC58}" type="pres">
      <dgm:prSet presAssocID="{B23B86F7-18B7-4BAD-8965-B43C66B871E7}" presName="rootComposite" presStyleCnt="0"/>
      <dgm:spPr/>
    </dgm:pt>
    <dgm:pt modelId="{51A6DA82-597C-486C-9B2A-8B77FB118BD6}" type="pres">
      <dgm:prSet presAssocID="{B23B86F7-18B7-4BAD-8965-B43C66B871E7}" presName="rootText" presStyleLbl="node2" presStyleIdx="0" presStyleCnt="8">
        <dgm:presLayoutVars>
          <dgm:chPref val="3"/>
        </dgm:presLayoutVars>
      </dgm:prSet>
      <dgm:spPr/>
    </dgm:pt>
    <dgm:pt modelId="{2B1D98E7-46E1-444B-AD76-DD35957B80EA}" type="pres">
      <dgm:prSet presAssocID="{B23B86F7-18B7-4BAD-8965-B43C66B871E7}" presName="rootConnector" presStyleLbl="node2" presStyleIdx="0" presStyleCnt="8"/>
      <dgm:spPr/>
    </dgm:pt>
    <dgm:pt modelId="{28B80584-2D7C-4FCE-BFF3-5B10BA8163E1}" type="pres">
      <dgm:prSet presAssocID="{B23B86F7-18B7-4BAD-8965-B43C66B871E7}" presName="hierChild4" presStyleCnt="0"/>
      <dgm:spPr/>
    </dgm:pt>
    <dgm:pt modelId="{A0CB5D5C-CBEF-4A80-BCAA-4DB25A43762B}" type="pres">
      <dgm:prSet presAssocID="{20EF055C-C00E-41A3-AF69-460591FAD166}" presName="Name37" presStyleLbl="parChTrans1D3" presStyleIdx="0" presStyleCnt="30"/>
      <dgm:spPr/>
    </dgm:pt>
    <dgm:pt modelId="{6EBF85A3-B708-42C4-AE18-F14E0A43F484}" type="pres">
      <dgm:prSet presAssocID="{84C00AD6-E601-4633-9041-01B87BA99E83}" presName="hierRoot2" presStyleCnt="0">
        <dgm:presLayoutVars>
          <dgm:hierBranch val="init"/>
        </dgm:presLayoutVars>
      </dgm:prSet>
      <dgm:spPr/>
    </dgm:pt>
    <dgm:pt modelId="{AC534320-D7A4-4198-9DD4-822F7025AD8B}" type="pres">
      <dgm:prSet presAssocID="{84C00AD6-E601-4633-9041-01B87BA99E83}" presName="rootComposite" presStyleCnt="0"/>
      <dgm:spPr/>
    </dgm:pt>
    <dgm:pt modelId="{458954D6-E8CA-480B-B779-A3C1CF0282E9}" type="pres">
      <dgm:prSet presAssocID="{84C00AD6-E601-4633-9041-01B87BA99E83}" presName="rootText" presStyleLbl="node3" presStyleIdx="0" presStyleCnt="30">
        <dgm:presLayoutVars>
          <dgm:chPref val="3"/>
        </dgm:presLayoutVars>
      </dgm:prSet>
      <dgm:spPr/>
    </dgm:pt>
    <dgm:pt modelId="{3F001293-3435-42EF-A634-2A2308065B56}" type="pres">
      <dgm:prSet presAssocID="{84C00AD6-E601-4633-9041-01B87BA99E83}" presName="rootConnector" presStyleLbl="node3" presStyleIdx="0" presStyleCnt="30"/>
      <dgm:spPr/>
    </dgm:pt>
    <dgm:pt modelId="{6259C6C5-2CD8-4A69-931B-7F6D594B38B8}" type="pres">
      <dgm:prSet presAssocID="{84C00AD6-E601-4633-9041-01B87BA99E83}" presName="hierChild4" presStyleCnt="0"/>
      <dgm:spPr/>
    </dgm:pt>
    <dgm:pt modelId="{B6BD4E80-0002-45D4-83B0-79A1C5901F30}" type="pres">
      <dgm:prSet presAssocID="{84C00AD6-E601-4633-9041-01B87BA99E83}" presName="hierChild5" presStyleCnt="0"/>
      <dgm:spPr/>
    </dgm:pt>
    <dgm:pt modelId="{0E2F2A07-A3F8-4648-8AFA-C03E0A8E3F24}" type="pres">
      <dgm:prSet presAssocID="{0725E76D-0ACB-41A7-ABAD-30268AE344EF}" presName="Name37" presStyleLbl="parChTrans1D3" presStyleIdx="1" presStyleCnt="30"/>
      <dgm:spPr/>
    </dgm:pt>
    <dgm:pt modelId="{6D6B8408-B047-4D6D-AD9A-6C8E169EC3A2}" type="pres">
      <dgm:prSet presAssocID="{2ED00F50-D9E5-4B10-9D58-3442A1DD1C64}" presName="hierRoot2" presStyleCnt="0">
        <dgm:presLayoutVars>
          <dgm:hierBranch val="init"/>
        </dgm:presLayoutVars>
      </dgm:prSet>
      <dgm:spPr/>
    </dgm:pt>
    <dgm:pt modelId="{42519641-9E3C-42FD-BCAD-D47A124FD52E}" type="pres">
      <dgm:prSet presAssocID="{2ED00F50-D9E5-4B10-9D58-3442A1DD1C64}" presName="rootComposite" presStyleCnt="0"/>
      <dgm:spPr/>
    </dgm:pt>
    <dgm:pt modelId="{9D942C81-A525-4527-ADCD-1B43C76738D2}" type="pres">
      <dgm:prSet presAssocID="{2ED00F50-D9E5-4B10-9D58-3442A1DD1C64}" presName="rootText" presStyleLbl="node3" presStyleIdx="1" presStyleCnt="30">
        <dgm:presLayoutVars>
          <dgm:chPref val="3"/>
        </dgm:presLayoutVars>
      </dgm:prSet>
      <dgm:spPr/>
    </dgm:pt>
    <dgm:pt modelId="{9856E079-BCC5-4759-9903-B1303809D0CE}" type="pres">
      <dgm:prSet presAssocID="{2ED00F50-D9E5-4B10-9D58-3442A1DD1C64}" presName="rootConnector" presStyleLbl="node3" presStyleIdx="1" presStyleCnt="30"/>
      <dgm:spPr/>
    </dgm:pt>
    <dgm:pt modelId="{538A98D1-9099-4E45-9E9B-2808CFB06867}" type="pres">
      <dgm:prSet presAssocID="{2ED00F50-D9E5-4B10-9D58-3442A1DD1C64}" presName="hierChild4" presStyleCnt="0"/>
      <dgm:spPr/>
    </dgm:pt>
    <dgm:pt modelId="{0826A261-23F5-47BC-8443-F3E620604C45}" type="pres">
      <dgm:prSet presAssocID="{2ED00F50-D9E5-4B10-9D58-3442A1DD1C64}" presName="hierChild5" presStyleCnt="0"/>
      <dgm:spPr/>
    </dgm:pt>
    <dgm:pt modelId="{A377192A-0A38-4CD7-BBE7-6D0E1B8A9DF4}" type="pres">
      <dgm:prSet presAssocID="{77B81E56-C106-493E-9898-234B462FC8C5}" presName="Name37" presStyleLbl="parChTrans1D3" presStyleIdx="2" presStyleCnt="30"/>
      <dgm:spPr/>
    </dgm:pt>
    <dgm:pt modelId="{A85697D6-4785-4EEF-AAAC-482B77E84B9E}" type="pres">
      <dgm:prSet presAssocID="{89CE6858-532E-4B77-A289-940C77D78C12}" presName="hierRoot2" presStyleCnt="0">
        <dgm:presLayoutVars>
          <dgm:hierBranch val="init"/>
        </dgm:presLayoutVars>
      </dgm:prSet>
      <dgm:spPr/>
    </dgm:pt>
    <dgm:pt modelId="{0B66A8E2-C05A-4F3F-82D0-259E0A7DB551}" type="pres">
      <dgm:prSet presAssocID="{89CE6858-532E-4B77-A289-940C77D78C12}" presName="rootComposite" presStyleCnt="0"/>
      <dgm:spPr/>
    </dgm:pt>
    <dgm:pt modelId="{E7B8995E-4D34-412D-8D04-71AA9C1FB5CE}" type="pres">
      <dgm:prSet presAssocID="{89CE6858-532E-4B77-A289-940C77D78C12}" presName="rootText" presStyleLbl="node3" presStyleIdx="2" presStyleCnt="30">
        <dgm:presLayoutVars>
          <dgm:chPref val="3"/>
        </dgm:presLayoutVars>
      </dgm:prSet>
      <dgm:spPr/>
    </dgm:pt>
    <dgm:pt modelId="{4C4CF14B-6A48-4C80-AB67-00F3ABF9110C}" type="pres">
      <dgm:prSet presAssocID="{89CE6858-532E-4B77-A289-940C77D78C12}" presName="rootConnector" presStyleLbl="node3" presStyleIdx="2" presStyleCnt="30"/>
      <dgm:spPr/>
    </dgm:pt>
    <dgm:pt modelId="{DE53DF3E-EE42-422F-BB90-DABD3D9D1666}" type="pres">
      <dgm:prSet presAssocID="{89CE6858-532E-4B77-A289-940C77D78C12}" presName="hierChild4" presStyleCnt="0"/>
      <dgm:spPr/>
    </dgm:pt>
    <dgm:pt modelId="{324A04EE-F916-4DFF-A5C4-5EB30E684AAE}" type="pres">
      <dgm:prSet presAssocID="{89CE6858-532E-4B77-A289-940C77D78C12}" presName="hierChild5" presStyleCnt="0"/>
      <dgm:spPr/>
    </dgm:pt>
    <dgm:pt modelId="{36DD4197-9506-4E5E-A4DE-282FB899F6A3}" type="pres">
      <dgm:prSet presAssocID="{B23B86F7-18B7-4BAD-8965-B43C66B871E7}" presName="hierChild5" presStyleCnt="0"/>
      <dgm:spPr/>
    </dgm:pt>
    <dgm:pt modelId="{897EA848-DFC7-4AEE-A274-FC30FC261252}" type="pres">
      <dgm:prSet presAssocID="{8C2C0F75-AAA6-4464-BEAD-A60614248F60}" presName="Name37" presStyleLbl="parChTrans1D2" presStyleIdx="1" presStyleCnt="8"/>
      <dgm:spPr/>
    </dgm:pt>
    <dgm:pt modelId="{892B9C31-2D92-44D6-946F-86FF7CB2BE05}" type="pres">
      <dgm:prSet presAssocID="{05998DBC-F4CE-4B78-989A-770EE0B23958}" presName="hierRoot2" presStyleCnt="0">
        <dgm:presLayoutVars>
          <dgm:hierBranch val="init"/>
        </dgm:presLayoutVars>
      </dgm:prSet>
      <dgm:spPr/>
    </dgm:pt>
    <dgm:pt modelId="{631B89AB-6257-4F4C-A480-8D73E403EDFF}" type="pres">
      <dgm:prSet presAssocID="{05998DBC-F4CE-4B78-989A-770EE0B23958}" presName="rootComposite" presStyleCnt="0"/>
      <dgm:spPr/>
    </dgm:pt>
    <dgm:pt modelId="{0079FDB8-F151-4C60-9D27-DD5C48838872}" type="pres">
      <dgm:prSet presAssocID="{05998DBC-F4CE-4B78-989A-770EE0B23958}" presName="rootText" presStyleLbl="node2" presStyleIdx="1" presStyleCnt="8">
        <dgm:presLayoutVars>
          <dgm:chPref val="3"/>
        </dgm:presLayoutVars>
      </dgm:prSet>
      <dgm:spPr/>
    </dgm:pt>
    <dgm:pt modelId="{C5E2EBC8-9835-4DCA-9D2D-AB3C00F193C6}" type="pres">
      <dgm:prSet presAssocID="{05998DBC-F4CE-4B78-989A-770EE0B23958}" presName="rootConnector" presStyleLbl="node2" presStyleIdx="1" presStyleCnt="8"/>
      <dgm:spPr/>
    </dgm:pt>
    <dgm:pt modelId="{14778A3C-DE9D-4E9A-A774-5D055F14919E}" type="pres">
      <dgm:prSet presAssocID="{05998DBC-F4CE-4B78-989A-770EE0B23958}" presName="hierChild4" presStyleCnt="0"/>
      <dgm:spPr/>
    </dgm:pt>
    <dgm:pt modelId="{8F3682D5-4F4D-4A6C-AC03-1A824FAF13EB}" type="pres">
      <dgm:prSet presAssocID="{1EA2826F-8497-44E5-AD60-BEEAF4D6EAA4}" presName="Name37" presStyleLbl="parChTrans1D3" presStyleIdx="3" presStyleCnt="30"/>
      <dgm:spPr/>
    </dgm:pt>
    <dgm:pt modelId="{12B44BC8-A28C-4606-93AD-06F6381BBE56}" type="pres">
      <dgm:prSet presAssocID="{4B7CBD37-45C2-4DF7-A0A1-B68F8E7340DB}" presName="hierRoot2" presStyleCnt="0">
        <dgm:presLayoutVars>
          <dgm:hierBranch val="init"/>
        </dgm:presLayoutVars>
      </dgm:prSet>
      <dgm:spPr/>
    </dgm:pt>
    <dgm:pt modelId="{E219EE45-9FB0-4D74-93DA-D54816C4EE53}" type="pres">
      <dgm:prSet presAssocID="{4B7CBD37-45C2-4DF7-A0A1-B68F8E7340DB}" presName="rootComposite" presStyleCnt="0"/>
      <dgm:spPr/>
    </dgm:pt>
    <dgm:pt modelId="{FC073F40-053F-4175-91BD-835719CC23F7}" type="pres">
      <dgm:prSet presAssocID="{4B7CBD37-45C2-4DF7-A0A1-B68F8E7340DB}" presName="rootText" presStyleLbl="node3" presStyleIdx="3" presStyleCnt="30">
        <dgm:presLayoutVars>
          <dgm:chPref val="3"/>
        </dgm:presLayoutVars>
      </dgm:prSet>
      <dgm:spPr/>
    </dgm:pt>
    <dgm:pt modelId="{A4584041-0123-452B-BD72-06270EE6AF45}" type="pres">
      <dgm:prSet presAssocID="{4B7CBD37-45C2-4DF7-A0A1-B68F8E7340DB}" presName="rootConnector" presStyleLbl="node3" presStyleIdx="3" presStyleCnt="30"/>
      <dgm:spPr/>
    </dgm:pt>
    <dgm:pt modelId="{3ECC9665-D95B-4798-B8A1-D634B87B5E3C}" type="pres">
      <dgm:prSet presAssocID="{4B7CBD37-45C2-4DF7-A0A1-B68F8E7340DB}" presName="hierChild4" presStyleCnt="0"/>
      <dgm:spPr/>
    </dgm:pt>
    <dgm:pt modelId="{F69E0942-FB9B-4C19-B42B-33204C521824}" type="pres">
      <dgm:prSet presAssocID="{4B7CBD37-45C2-4DF7-A0A1-B68F8E7340DB}" presName="hierChild5" presStyleCnt="0"/>
      <dgm:spPr/>
    </dgm:pt>
    <dgm:pt modelId="{EFAC2CFE-79D7-44B5-8ECC-4892C6DDDC9C}" type="pres">
      <dgm:prSet presAssocID="{0302F593-12A3-47E8-A6B0-AA8B30A26967}" presName="Name37" presStyleLbl="parChTrans1D3" presStyleIdx="4" presStyleCnt="30"/>
      <dgm:spPr/>
    </dgm:pt>
    <dgm:pt modelId="{3B5A7263-66D4-4F04-9EAE-70FACFDFBA4F}" type="pres">
      <dgm:prSet presAssocID="{5716F039-2B1E-4093-B3D6-197181CC38FD}" presName="hierRoot2" presStyleCnt="0">
        <dgm:presLayoutVars>
          <dgm:hierBranch val="init"/>
        </dgm:presLayoutVars>
      </dgm:prSet>
      <dgm:spPr/>
    </dgm:pt>
    <dgm:pt modelId="{5C678AE2-051F-4DEC-8B6D-966722ED13C2}" type="pres">
      <dgm:prSet presAssocID="{5716F039-2B1E-4093-B3D6-197181CC38FD}" presName="rootComposite" presStyleCnt="0"/>
      <dgm:spPr/>
    </dgm:pt>
    <dgm:pt modelId="{32651543-92F3-429E-AE78-2D396D8FFEBF}" type="pres">
      <dgm:prSet presAssocID="{5716F039-2B1E-4093-B3D6-197181CC38FD}" presName="rootText" presStyleLbl="node3" presStyleIdx="4" presStyleCnt="30">
        <dgm:presLayoutVars>
          <dgm:chPref val="3"/>
        </dgm:presLayoutVars>
      </dgm:prSet>
      <dgm:spPr/>
    </dgm:pt>
    <dgm:pt modelId="{39DF8E1A-2B61-4EB4-9807-31EB3AFD9E69}" type="pres">
      <dgm:prSet presAssocID="{5716F039-2B1E-4093-B3D6-197181CC38FD}" presName="rootConnector" presStyleLbl="node3" presStyleIdx="4" presStyleCnt="30"/>
      <dgm:spPr/>
    </dgm:pt>
    <dgm:pt modelId="{253EC35E-B5CE-4FD8-9FC3-E7642061C941}" type="pres">
      <dgm:prSet presAssocID="{5716F039-2B1E-4093-B3D6-197181CC38FD}" presName="hierChild4" presStyleCnt="0"/>
      <dgm:spPr/>
    </dgm:pt>
    <dgm:pt modelId="{F6FEBAFC-030C-464E-81E3-493A4A97D7A5}" type="pres">
      <dgm:prSet presAssocID="{5716F039-2B1E-4093-B3D6-197181CC38FD}" presName="hierChild5" presStyleCnt="0"/>
      <dgm:spPr/>
    </dgm:pt>
    <dgm:pt modelId="{73861559-648B-4D9B-9A28-C9B21B484F49}" type="pres">
      <dgm:prSet presAssocID="{E5EA6048-7DC1-47C9-B5FB-9B646133740B}" presName="Name37" presStyleLbl="parChTrans1D3" presStyleIdx="5" presStyleCnt="30"/>
      <dgm:spPr/>
    </dgm:pt>
    <dgm:pt modelId="{49263C3F-370E-4255-B2A5-73E713371AD7}" type="pres">
      <dgm:prSet presAssocID="{FAE87998-2D1B-44B2-8407-390208CDDE81}" presName="hierRoot2" presStyleCnt="0">
        <dgm:presLayoutVars>
          <dgm:hierBranch val="init"/>
        </dgm:presLayoutVars>
      </dgm:prSet>
      <dgm:spPr/>
    </dgm:pt>
    <dgm:pt modelId="{FC8E2B18-7776-4994-86EA-39CD378F02F1}" type="pres">
      <dgm:prSet presAssocID="{FAE87998-2D1B-44B2-8407-390208CDDE81}" presName="rootComposite" presStyleCnt="0"/>
      <dgm:spPr/>
    </dgm:pt>
    <dgm:pt modelId="{2E2CE622-3F0C-4844-BE16-D142471598CA}" type="pres">
      <dgm:prSet presAssocID="{FAE87998-2D1B-44B2-8407-390208CDDE81}" presName="rootText" presStyleLbl="node3" presStyleIdx="5" presStyleCnt="30">
        <dgm:presLayoutVars>
          <dgm:chPref val="3"/>
        </dgm:presLayoutVars>
      </dgm:prSet>
      <dgm:spPr/>
    </dgm:pt>
    <dgm:pt modelId="{0E4CC479-8147-4C6F-9144-EB8D0ED3693B}" type="pres">
      <dgm:prSet presAssocID="{FAE87998-2D1B-44B2-8407-390208CDDE81}" presName="rootConnector" presStyleLbl="node3" presStyleIdx="5" presStyleCnt="30"/>
      <dgm:spPr/>
    </dgm:pt>
    <dgm:pt modelId="{64D90D09-619B-4BB9-8DB4-A70E3582E4AE}" type="pres">
      <dgm:prSet presAssocID="{FAE87998-2D1B-44B2-8407-390208CDDE81}" presName="hierChild4" presStyleCnt="0"/>
      <dgm:spPr/>
    </dgm:pt>
    <dgm:pt modelId="{FD51BBB5-E3BC-44BA-96E7-7D55EF82677A}" type="pres">
      <dgm:prSet presAssocID="{FAE87998-2D1B-44B2-8407-390208CDDE81}" presName="hierChild5" presStyleCnt="0"/>
      <dgm:spPr/>
    </dgm:pt>
    <dgm:pt modelId="{4DBC7B1E-2DA0-4B0E-B321-703872C99B03}" type="pres">
      <dgm:prSet presAssocID="{5264ACD6-02A2-450B-8B79-0C5B11442345}" presName="Name37" presStyleLbl="parChTrans1D3" presStyleIdx="6" presStyleCnt="30"/>
      <dgm:spPr/>
    </dgm:pt>
    <dgm:pt modelId="{A75A8E88-173A-48AF-BCC7-B0C4CC04A943}" type="pres">
      <dgm:prSet presAssocID="{F84C515C-E2DF-4995-A62A-F945878508F9}" presName="hierRoot2" presStyleCnt="0">
        <dgm:presLayoutVars>
          <dgm:hierBranch val="init"/>
        </dgm:presLayoutVars>
      </dgm:prSet>
      <dgm:spPr/>
    </dgm:pt>
    <dgm:pt modelId="{EB4F936B-522A-4AAE-9C23-3AEE9027F75C}" type="pres">
      <dgm:prSet presAssocID="{F84C515C-E2DF-4995-A62A-F945878508F9}" presName="rootComposite" presStyleCnt="0"/>
      <dgm:spPr/>
    </dgm:pt>
    <dgm:pt modelId="{92F90DBF-2A64-47C2-8ED6-7D186F84E6E3}" type="pres">
      <dgm:prSet presAssocID="{F84C515C-E2DF-4995-A62A-F945878508F9}" presName="rootText" presStyleLbl="node3" presStyleIdx="6" presStyleCnt="30">
        <dgm:presLayoutVars>
          <dgm:chPref val="3"/>
        </dgm:presLayoutVars>
      </dgm:prSet>
      <dgm:spPr/>
    </dgm:pt>
    <dgm:pt modelId="{A8053DE9-6C26-48A8-AB69-73C27B19024C}" type="pres">
      <dgm:prSet presAssocID="{F84C515C-E2DF-4995-A62A-F945878508F9}" presName="rootConnector" presStyleLbl="node3" presStyleIdx="6" presStyleCnt="30"/>
      <dgm:spPr/>
    </dgm:pt>
    <dgm:pt modelId="{6E31B0A0-12E1-4DD8-8B06-EF2602D5F3E7}" type="pres">
      <dgm:prSet presAssocID="{F84C515C-E2DF-4995-A62A-F945878508F9}" presName="hierChild4" presStyleCnt="0"/>
      <dgm:spPr/>
    </dgm:pt>
    <dgm:pt modelId="{3C68971E-4D54-4AA9-B743-A6DBC208D36E}" type="pres">
      <dgm:prSet presAssocID="{F84C515C-E2DF-4995-A62A-F945878508F9}" presName="hierChild5" presStyleCnt="0"/>
      <dgm:spPr/>
    </dgm:pt>
    <dgm:pt modelId="{49C74E26-A75A-423E-AE28-32B1BC3DF667}" type="pres">
      <dgm:prSet presAssocID="{05998DBC-F4CE-4B78-989A-770EE0B23958}" presName="hierChild5" presStyleCnt="0"/>
      <dgm:spPr/>
    </dgm:pt>
    <dgm:pt modelId="{FF1380C8-1088-4831-9DFA-B414C9770794}" type="pres">
      <dgm:prSet presAssocID="{6C725C6E-A80C-412A-AFCC-99B8F04D5D52}" presName="Name37" presStyleLbl="parChTrans1D2" presStyleIdx="2" presStyleCnt="8"/>
      <dgm:spPr/>
    </dgm:pt>
    <dgm:pt modelId="{B85B8C12-7276-4C93-8FC6-9CAECDC79A30}" type="pres">
      <dgm:prSet presAssocID="{DC8E3BB6-FB8F-4305-A9C2-8E888403E969}" presName="hierRoot2" presStyleCnt="0">
        <dgm:presLayoutVars>
          <dgm:hierBranch val="init"/>
        </dgm:presLayoutVars>
      </dgm:prSet>
      <dgm:spPr/>
    </dgm:pt>
    <dgm:pt modelId="{046995C0-1DDB-4FF3-AFF9-297988A73988}" type="pres">
      <dgm:prSet presAssocID="{DC8E3BB6-FB8F-4305-A9C2-8E888403E969}" presName="rootComposite" presStyleCnt="0"/>
      <dgm:spPr/>
    </dgm:pt>
    <dgm:pt modelId="{1656141C-D8A8-4336-99AB-6C5F2F6DCEB4}" type="pres">
      <dgm:prSet presAssocID="{DC8E3BB6-FB8F-4305-A9C2-8E888403E969}" presName="rootText" presStyleLbl="node2" presStyleIdx="2" presStyleCnt="8">
        <dgm:presLayoutVars>
          <dgm:chPref val="3"/>
        </dgm:presLayoutVars>
      </dgm:prSet>
      <dgm:spPr/>
    </dgm:pt>
    <dgm:pt modelId="{CD38476F-95EB-4DF7-8CAD-05315FD531C1}" type="pres">
      <dgm:prSet presAssocID="{DC8E3BB6-FB8F-4305-A9C2-8E888403E969}" presName="rootConnector" presStyleLbl="node2" presStyleIdx="2" presStyleCnt="8"/>
      <dgm:spPr/>
    </dgm:pt>
    <dgm:pt modelId="{7F8A58C4-B89C-4FE3-8229-721310E169C4}" type="pres">
      <dgm:prSet presAssocID="{DC8E3BB6-FB8F-4305-A9C2-8E888403E969}" presName="hierChild4" presStyleCnt="0"/>
      <dgm:spPr/>
    </dgm:pt>
    <dgm:pt modelId="{FE51077E-23A3-435E-A5F6-F8DF8EE18229}" type="pres">
      <dgm:prSet presAssocID="{0712D797-13DD-4638-B950-18DD83B15203}" presName="Name37" presStyleLbl="parChTrans1D3" presStyleIdx="7" presStyleCnt="30"/>
      <dgm:spPr/>
    </dgm:pt>
    <dgm:pt modelId="{B7E65EC3-F5E5-47B2-8F8C-1DEC7206E1A3}" type="pres">
      <dgm:prSet presAssocID="{DB67427C-D6F8-467A-AD38-4C738C7936BE}" presName="hierRoot2" presStyleCnt="0">
        <dgm:presLayoutVars>
          <dgm:hierBranch val="init"/>
        </dgm:presLayoutVars>
      </dgm:prSet>
      <dgm:spPr/>
    </dgm:pt>
    <dgm:pt modelId="{03B5DFCB-964F-4FDD-9929-971823107F91}" type="pres">
      <dgm:prSet presAssocID="{DB67427C-D6F8-467A-AD38-4C738C7936BE}" presName="rootComposite" presStyleCnt="0"/>
      <dgm:spPr/>
    </dgm:pt>
    <dgm:pt modelId="{A758D782-D509-47BD-B1B9-30C35299CAFA}" type="pres">
      <dgm:prSet presAssocID="{DB67427C-D6F8-467A-AD38-4C738C7936BE}" presName="rootText" presStyleLbl="node3" presStyleIdx="7" presStyleCnt="30">
        <dgm:presLayoutVars>
          <dgm:chPref val="3"/>
        </dgm:presLayoutVars>
      </dgm:prSet>
      <dgm:spPr/>
    </dgm:pt>
    <dgm:pt modelId="{E8B2EA3E-C6A1-435B-9559-5CFBD40D9688}" type="pres">
      <dgm:prSet presAssocID="{DB67427C-D6F8-467A-AD38-4C738C7936BE}" presName="rootConnector" presStyleLbl="node3" presStyleIdx="7" presStyleCnt="30"/>
      <dgm:spPr/>
    </dgm:pt>
    <dgm:pt modelId="{B6627E10-EDFB-4F9E-811E-F9B3848F65E8}" type="pres">
      <dgm:prSet presAssocID="{DB67427C-D6F8-467A-AD38-4C738C7936BE}" presName="hierChild4" presStyleCnt="0"/>
      <dgm:spPr/>
    </dgm:pt>
    <dgm:pt modelId="{41B15C63-EEB2-48EF-A470-BE0DBBF2FF38}" type="pres">
      <dgm:prSet presAssocID="{DB67427C-D6F8-467A-AD38-4C738C7936BE}" presName="hierChild5" presStyleCnt="0"/>
      <dgm:spPr/>
    </dgm:pt>
    <dgm:pt modelId="{3B93A72B-AC5A-4706-BB9F-3FCD63FF56B3}" type="pres">
      <dgm:prSet presAssocID="{2555A0DD-F735-4347-8429-0124C126FD9A}" presName="Name37" presStyleLbl="parChTrans1D3" presStyleIdx="8" presStyleCnt="30"/>
      <dgm:spPr/>
    </dgm:pt>
    <dgm:pt modelId="{77D73A48-6219-4D10-BC35-E30B5BAC8ADD}" type="pres">
      <dgm:prSet presAssocID="{3F982FA0-5264-45C7-86B0-F764B0253E49}" presName="hierRoot2" presStyleCnt="0">
        <dgm:presLayoutVars>
          <dgm:hierBranch val="init"/>
        </dgm:presLayoutVars>
      </dgm:prSet>
      <dgm:spPr/>
    </dgm:pt>
    <dgm:pt modelId="{0BED716A-0C8D-421A-A37F-BDC57D108433}" type="pres">
      <dgm:prSet presAssocID="{3F982FA0-5264-45C7-86B0-F764B0253E49}" presName="rootComposite" presStyleCnt="0"/>
      <dgm:spPr/>
    </dgm:pt>
    <dgm:pt modelId="{2868756B-7AC9-479C-A8AD-A774C0A7A7DA}" type="pres">
      <dgm:prSet presAssocID="{3F982FA0-5264-45C7-86B0-F764B0253E49}" presName="rootText" presStyleLbl="node3" presStyleIdx="8" presStyleCnt="30">
        <dgm:presLayoutVars>
          <dgm:chPref val="3"/>
        </dgm:presLayoutVars>
      </dgm:prSet>
      <dgm:spPr/>
    </dgm:pt>
    <dgm:pt modelId="{741C9FAD-ECAF-4203-A382-166B8251EE0E}" type="pres">
      <dgm:prSet presAssocID="{3F982FA0-5264-45C7-86B0-F764B0253E49}" presName="rootConnector" presStyleLbl="node3" presStyleIdx="8" presStyleCnt="30"/>
      <dgm:spPr/>
    </dgm:pt>
    <dgm:pt modelId="{CC140E20-F061-4AD2-AC38-C4365CD423D0}" type="pres">
      <dgm:prSet presAssocID="{3F982FA0-5264-45C7-86B0-F764B0253E49}" presName="hierChild4" presStyleCnt="0"/>
      <dgm:spPr/>
    </dgm:pt>
    <dgm:pt modelId="{790A3154-CA72-4179-839A-8D5A6EEF87CE}" type="pres">
      <dgm:prSet presAssocID="{3F982FA0-5264-45C7-86B0-F764B0253E49}" presName="hierChild5" presStyleCnt="0"/>
      <dgm:spPr/>
    </dgm:pt>
    <dgm:pt modelId="{D06DBD90-25E5-4A43-BFF7-0A0CD2B4BA7D}" type="pres">
      <dgm:prSet presAssocID="{6927CE39-BA77-4AC6-BF06-6FC507BAD02A}" presName="Name37" presStyleLbl="parChTrans1D3" presStyleIdx="9" presStyleCnt="30"/>
      <dgm:spPr/>
    </dgm:pt>
    <dgm:pt modelId="{C0E51987-88D2-474F-998E-BA8A1A9A36D9}" type="pres">
      <dgm:prSet presAssocID="{FF294872-3124-4D2C-AF62-A50F79E37314}" presName="hierRoot2" presStyleCnt="0">
        <dgm:presLayoutVars>
          <dgm:hierBranch val="init"/>
        </dgm:presLayoutVars>
      </dgm:prSet>
      <dgm:spPr/>
    </dgm:pt>
    <dgm:pt modelId="{E099B3B9-0557-46CF-B554-C4E776908D95}" type="pres">
      <dgm:prSet presAssocID="{FF294872-3124-4D2C-AF62-A50F79E37314}" presName="rootComposite" presStyleCnt="0"/>
      <dgm:spPr/>
    </dgm:pt>
    <dgm:pt modelId="{B4CD171E-6BF2-408C-80AF-2CE0FD40BEDC}" type="pres">
      <dgm:prSet presAssocID="{FF294872-3124-4D2C-AF62-A50F79E37314}" presName="rootText" presStyleLbl="node3" presStyleIdx="9" presStyleCnt="30">
        <dgm:presLayoutVars>
          <dgm:chPref val="3"/>
        </dgm:presLayoutVars>
      </dgm:prSet>
      <dgm:spPr/>
    </dgm:pt>
    <dgm:pt modelId="{8E80FB71-C7F6-44BB-8E7A-4B59107E55C8}" type="pres">
      <dgm:prSet presAssocID="{FF294872-3124-4D2C-AF62-A50F79E37314}" presName="rootConnector" presStyleLbl="node3" presStyleIdx="9" presStyleCnt="30"/>
      <dgm:spPr/>
    </dgm:pt>
    <dgm:pt modelId="{5CD11798-8369-4FCE-B5B8-4969EA446FE8}" type="pres">
      <dgm:prSet presAssocID="{FF294872-3124-4D2C-AF62-A50F79E37314}" presName="hierChild4" presStyleCnt="0"/>
      <dgm:spPr/>
    </dgm:pt>
    <dgm:pt modelId="{6121C87E-2B70-4017-B4C1-2E1FE6938E4D}" type="pres">
      <dgm:prSet presAssocID="{FF294872-3124-4D2C-AF62-A50F79E37314}" presName="hierChild5" presStyleCnt="0"/>
      <dgm:spPr/>
    </dgm:pt>
    <dgm:pt modelId="{BAEBAB07-6AF1-4C1A-9E1D-729D305F15F4}" type="pres">
      <dgm:prSet presAssocID="{F8F19FC5-74B5-4E69-900C-398AD45DA390}" presName="Name37" presStyleLbl="parChTrans1D3" presStyleIdx="10" presStyleCnt="30"/>
      <dgm:spPr/>
    </dgm:pt>
    <dgm:pt modelId="{73BBF4D6-1CF5-47BD-9823-7918065E8C23}" type="pres">
      <dgm:prSet presAssocID="{7846CFA0-5FEE-4CC4-831F-D86729DEE370}" presName="hierRoot2" presStyleCnt="0">
        <dgm:presLayoutVars>
          <dgm:hierBranch val="init"/>
        </dgm:presLayoutVars>
      </dgm:prSet>
      <dgm:spPr/>
    </dgm:pt>
    <dgm:pt modelId="{81CC727C-B501-45F2-A172-CA489BE2F156}" type="pres">
      <dgm:prSet presAssocID="{7846CFA0-5FEE-4CC4-831F-D86729DEE370}" presName="rootComposite" presStyleCnt="0"/>
      <dgm:spPr/>
    </dgm:pt>
    <dgm:pt modelId="{A8D1F87E-4B43-4032-ACF6-84CE548BA08E}" type="pres">
      <dgm:prSet presAssocID="{7846CFA0-5FEE-4CC4-831F-D86729DEE370}" presName="rootText" presStyleLbl="node3" presStyleIdx="10" presStyleCnt="30">
        <dgm:presLayoutVars>
          <dgm:chPref val="3"/>
        </dgm:presLayoutVars>
      </dgm:prSet>
      <dgm:spPr/>
    </dgm:pt>
    <dgm:pt modelId="{0A182B6F-B42A-423F-9493-8E2BC3E349C2}" type="pres">
      <dgm:prSet presAssocID="{7846CFA0-5FEE-4CC4-831F-D86729DEE370}" presName="rootConnector" presStyleLbl="node3" presStyleIdx="10" presStyleCnt="30"/>
      <dgm:spPr/>
    </dgm:pt>
    <dgm:pt modelId="{1AAB523B-3364-4917-9BEA-F17ABD2AF700}" type="pres">
      <dgm:prSet presAssocID="{7846CFA0-5FEE-4CC4-831F-D86729DEE370}" presName="hierChild4" presStyleCnt="0"/>
      <dgm:spPr/>
    </dgm:pt>
    <dgm:pt modelId="{060F3A51-2C99-4A3A-BFD9-24003E6EC0CE}" type="pres">
      <dgm:prSet presAssocID="{7846CFA0-5FEE-4CC4-831F-D86729DEE370}" presName="hierChild5" presStyleCnt="0"/>
      <dgm:spPr/>
    </dgm:pt>
    <dgm:pt modelId="{8D6A9976-F539-40D1-A36C-D578D8E57B4B}" type="pres">
      <dgm:prSet presAssocID="{8F088758-D171-4F6A-B077-159CD42ACA2E}" presName="Name37" presStyleLbl="parChTrans1D3" presStyleIdx="11" presStyleCnt="30"/>
      <dgm:spPr/>
    </dgm:pt>
    <dgm:pt modelId="{5ACE9844-4CF0-40B8-8C71-1E67D5FE4DC4}" type="pres">
      <dgm:prSet presAssocID="{17FAD9F0-769D-42EB-9F24-4DE9DA7E861F}" presName="hierRoot2" presStyleCnt="0">
        <dgm:presLayoutVars>
          <dgm:hierBranch val="init"/>
        </dgm:presLayoutVars>
      </dgm:prSet>
      <dgm:spPr/>
    </dgm:pt>
    <dgm:pt modelId="{6ED920D7-F711-4D33-B20E-B89CA59339CD}" type="pres">
      <dgm:prSet presAssocID="{17FAD9F0-769D-42EB-9F24-4DE9DA7E861F}" presName="rootComposite" presStyleCnt="0"/>
      <dgm:spPr/>
    </dgm:pt>
    <dgm:pt modelId="{8FA9B796-832C-4172-90B7-8EE9CFC409C6}" type="pres">
      <dgm:prSet presAssocID="{17FAD9F0-769D-42EB-9F24-4DE9DA7E861F}" presName="rootText" presStyleLbl="node3" presStyleIdx="11" presStyleCnt="30">
        <dgm:presLayoutVars>
          <dgm:chPref val="3"/>
        </dgm:presLayoutVars>
      </dgm:prSet>
      <dgm:spPr/>
    </dgm:pt>
    <dgm:pt modelId="{C1363F70-7A75-403C-9260-B139825EF195}" type="pres">
      <dgm:prSet presAssocID="{17FAD9F0-769D-42EB-9F24-4DE9DA7E861F}" presName="rootConnector" presStyleLbl="node3" presStyleIdx="11" presStyleCnt="30"/>
      <dgm:spPr/>
    </dgm:pt>
    <dgm:pt modelId="{FF916358-13A7-42FA-9977-9E7EE9AE3F64}" type="pres">
      <dgm:prSet presAssocID="{17FAD9F0-769D-42EB-9F24-4DE9DA7E861F}" presName="hierChild4" presStyleCnt="0"/>
      <dgm:spPr/>
    </dgm:pt>
    <dgm:pt modelId="{8A3297FC-9750-4115-A074-8069AD35B3AD}" type="pres">
      <dgm:prSet presAssocID="{17FAD9F0-769D-42EB-9F24-4DE9DA7E861F}" presName="hierChild5" presStyleCnt="0"/>
      <dgm:spPr/>
    </dgm:pt>
    <dgm:pt modelId="{8635893D-985F-482C-96F4-8DC8D5286D90}" type="pres">
      <dgm:prSet presAssocID="{DC8E3BB6-FB8F-4305-A9C2-8E888403E969}" presName="hierChild5" presStyleCnt="0"/>
      <dgm:spPr/>
    </dgm:pt>
    <dgm:pt modelId="{EB3DC70A-3B93-4B75-ACD0-2467878CC574}" type="pres">
      <dgm:prSet presAssocID="{C5AAE4DD-8AA6-4DEA-BB41-AB647D820F04}" presName="Name37" presStyleLbl="parChTrans1D2" presStyleIdx="3" presStyleCnt="8"/>
      <dgm:spPr/>
    </dgm:pt>
    <dgm:pt modelId="{17D3F377-1807-4BC6-B530-DF411055746D}" type="pres">
      <dgm:prSet presAssocID="{C1E3DA06-226B-42D0-A959-F2A5C9206D19}" presName="hierRoot2" presStyleCnt="0">
        <dgm:presLayoutVars>
          <dgm:hierBranch val="init"/>
        </dgm:presLayoutVars>
      </dgm:prSet>
      <dgm:spPr/>
    </dgm:pt>
    <dgm:pt modelId="{B36B3D2F-354A-487B-B71E-5F1189C1A1E6}" type="pres">
      <dgm:prSet presAssocID="{C1E3DA06-226B-42D0-A959-F2A5C9206D19}" presName="rootComposite" presStyleCnt="0"/>
      <dgm:spPr/>
    </dgm:pt>
    <dgm:pt modelId="{1D565A37-CF2F-4D08-84B9-531039161899}" type="pres">
      <dgm:prSet presAssocID="{C1E3DA06-226B-42D0-A959-F2A5C9206D19}" presName="rootText" presStyleLbl="node2" presStyleIdx="3" presStyleCnt="8">
        <dgm:presLayoutVars>
          <dgm:chPref val="3"/>
        </dgm:presLayoutVars>
      </dgm:prSet>
      <dgm:spPr/>
    </dgm:pt>
    <dgm:pt modelId="{4B151B24-3C22-4628-8E36-510AA448C12E}" type="pres">
      <dgm:prSet presAssocID="{C1E3DA06-226B-42D0-A959-F2A5C9206D19}" presName="rootConnector" presStyleLbl="node2" presStyleIdx="3" presStyleCnt="8"/>
      <dgm:spPr/>
    </dgm:pt>
    <dgm:pt modelId="{7881CCE0-2368-4952-BBC3-027B2FFA7C3F}" type="pres">
      <dgm:prSet presAssocID="{C1E3DA06-226B-42D0-A959-F2A5C9206D19}" presName="hierChild4" presStyleCnt="0"/>
      <dgm:spPr/>
    </dgm:pt>
    <dgm:pt modelId="{C5FE18FD-1D1A-496F-935E-C08D2E76A9CB}" type="pres">
      <dgm:prSet presAssocID="{B515B60E-B556-4EC3-8BDA-C4CBD086FC94}" presName="Name37" presStyleLbl="parChTrans1D3" presStyleIdx="12" presStyleCnt="30"/>
      <dgm:spPr/>
    </dgm:pt>
    <dgm:pt modelId="{C1DD40BC-673E-4C3B-B7A2-6A98FB83570F}" type="pres">
      <dgm:prSet presAssocID="{14B02E31-D097-466C-9AFE-EDE19E96DB55}" presName="hierRoot2" presStyleCnt="0">
        <dgm:presLayoutVars>
          <dgm:hierBranch val="init"/>
        </dgm:presLayoutVars>
      </dgm:prSet>
      <dgm:spPr/>
    </dgm:pt>
    <dgm:pt modelId="{75184031-9773-4F31-8BC5-5F7FE0DF524A}" type="pres">
      <dgm:prSet presAssocID="{14B02E31-D097-466C-9AFE-EDE19E96DB55}" presName="rootComposite" presStyleCnt="0"/>
      <dgm:spPr/>
    </dgm:pt>
    <dgm:pt modelId="{0484552F-A9A0-4ABD-BAC6-D4921CDFD900}" type="pres">
      <dgm:prSet presAssocID="{14B02E31-D097-466C-9AFE-EDE19E96DB55}" presName="rootText" presStyleLbl="node3" presStyleIdx="12" presStyleCnt="30">
        <dgm:presLayoutVars>
          <dgm:chPref val="3"/>
        </dgm:presLayoutVars>
      </dgm:prSet>
      <dgm:spPr/>
    </dgm:pt>
    <dgm:pt modelId="{69C47226-9365-4663-8846-C4FC7BD7AAC2}" type="pres">
      <dgm:prSet presAssocID="{14B02E31-D097-466C-9AFE-EDE19E96DB55}" presName="rootConnector" presStyleLbl="node3" presStyleIdx="12" presStyleCnt="30"/>
      <dgm:spPr/>
    </dgm:pt>
    <dgm:pt modelId="{231FADB6-51A2-42C4-8A66-721FF335CFE7}" type="pres">
      <dgm:prSet presAssocID="{14B02E31-D097-466C-9AFE-EDE19E96DB55}" presName="hierChild4" presStyleCnt="0"/>
      <dgm:spPr/>
    </dgm:pt>
    <dgm:pt modelId="{A1D3CCBA-29CA-4F87-8426-CF71BDCFF11C}" type="pres">
      <dgm:prSet presAssocID="{14B02E31-D097-466C-9AFE-EDE19E96DB55}" presName="hierChild5" presStyleCnt="0"/>
      <dgm:spPr/>
    </dgm:pt>
    <dgm:pt modelId="{7A90AB04-4DCF-4529-B13F-58DFE8D49EE3}" type="pres">
      <dgm:prSet presAssocID="{B249360D-361A-4AFE-9882-2B1325C63737}" presName="Name37" presStyleLbl="parChTrans1D3" presStyleIdx="13" presStyleCnt="30"/>
      <dgm:spPr/>
    </dgm:pt>
    <dgm:pt modelId="{B030A731-C4F5-4223-B921-A03C07F8721C}" type="pres">
      <dgm:prSet presAssocID="{8C8C6045-B54E-41CA-8F77-4F8DA1F80EAF}" presName="hierRoot2" presStyleCnt="0">
        <dgm:presLayoutVars>
          <dgm:hierBranch val="init"/>
        </dgm:presLayoutVars>
      </dgm:prSet>
      <dgm:spPr/>
    </dgm:pt>
    <dgm:pt modelId="{6E5FECDA-CFCF-45BE-81CA-9C40B594DFF5}" type="pres">
      <dgm:prSet presAssocID="{8C8C6045-B54E-41CA-8F77-4F8DA1F80EAF}" presName="rootComposite" presStyleCnt="0"/>
      <dgm:spPr/>
    </dgm:pt>
    <dgm:pt modelId="{D1C7B55D-B26B-4348-98F3-1352E5907100}" type="pres">
      <dgm:prSet presAssocID="{8C8C6045-B54E-41CA-8F77-4F8DA1F80EAF}" presName="rootText" presStyleLbl="node3" presStyleIdx="13" presStyleCnt="30">
        <dgm:presLayoutVars>
          <dgm:chPref val="3"/>
        </dgm:presLayoutVars>
      </dgm:prSet>
      <dgm:spPr/>
    </dgm:pt>
    <dgm:pt modelId="{EEDECAF5-A883-4468-85AC-67711CFA2C3C}" type="pres">
      <dgm:prSet presAssocID="{8C8C6045-B54E-41CA-8F77-4F8DA1F80EAF}" presName="rootConnector" presStyleLbl="node3" presStyleIdx="13" presStyleCnt="30"/>
      <dgm:spPr/>
    </dgm:pt>
    <dgm:pt modelId="{E1639423-D006-4696-B59F-FB63890C410C}" type="pres">
      <dgm:prSet presAssocID="{8C8C6045-B54E-41CA-8F77-4F8DA1F80EAF}" presName="hierChild4" presStyleCnt="0"/>
      <dgm:spPr/>
    </dgm:pt>
    <dgm:pt modelId="{1762EB95-5AC2-40A5-93E6-62F5EF2FE8D1}" type="pres">
      <dgm:prSet presAssocID="{8C8C6045-B54E-41CA-8F77-4F8DA1F80EAF}" presName="hierChild5" presStyleCnt="0"/>
      <dgm:spPr/>
    </dgm:pt>
    <dgm:pt modelId="{1E735175-0A4B-40FA-A7FA-F97EAE542F93}" type="pres">
      <dgm:prSet presAssocID="{5E2EEC87-B495-4FBA-8770-88C48BBB809F}" presName="Name37" presStyleLbl="parChTrans1D3" presStyleIdx="14" presStyleCnt="30"/>
      <dgm:spPr/>
    </dgm:pt>
    <dgm:pt modelId="{07AB9C53-A827-43C3-9EC7-F37E61A7D628}" type="pres">
      <dgm:prSet presAssocID="{47B33EA5-7598-4255-9C08-0CC2B1936F83}" presName="hierRoot2" presStyleCnt="0">
        <dgm:presLayoutVars>
          <dgm:hierBranch val="init"/>
        </dgm:presLayoutVars>
      </dgm:prSet>
      <dgm:spPr/>
    </dgm:pt>
    <dgm:pt modelId="{7B0DAFDA-B72D-4839-9885-9FF00C01B88E}" type="pres">
      <dgm:prSet presAssocID="{47B33EA5-7598-4255-9C08-0CC2B1936F83}" presName="rootComposite" presStyleCnt="0"/>
      <dgm:spPr/>
    </dgm:pt>
    <dgm:pt modelId="{2B7B6EF6-3917-4E5C-9F2B-F2B99FEEBD9F}" type="pres">
      <dgm:prSet presAssocID="{47B33EA5-7598-4255-9C08-0CC2B1936F83}" presName="rootText" presStyleLbl="node3" presStyleIdx="14" presStyleCnt="30">
        <dgm:presLayoutVars>
          <dgm:chPref val="3"/>
        </dgm:presLayoutVars>
      </dgm:prSet>
      <dgm:spPr/>
    </dgm:pt>
    <dgm:pt modelId="{E50BB666-85D7-4866-8644-C03D215E7155}" type="pres">
      <dgm:prSet presAssocID="{47B33EA5-7598-4255-9C08-0CC2B1936F83}" presName="rootConnector" presStyleLbl="node3" presStyleIdx="14" presStyleCnt="30"/>
      <dgm:spPr/>
    </dgm:pt>
    <dgm:pt modelId="{2E0BC512-86F2-4EFA-BFD9-1202DEAEB2EC}" type="pres">
      <dgm:prSet presAssocID="{47B33EA5-7598-4255-9C08-0CC2B1936F83}" presName="hierChild4" presStyleCnt="0"/>
      <dgm:spPr/>
    </dgm:pt>
    <dgm:pt modelId="{1FBC9B08-57BC-45B8-862A-9E408AEB12B9}" type="pres">
      <dgm:prSet presAssocID="{47B33EA5-7598-4255-9C08-0CC2B1936F83}" presName="hierChild5" presStyleCnt="0"/>
      <dgm:spPr/>
    </dgm:pt>
    <dgm:pt modelId="{A0841858-614A-4DB1-8CD2-8A429DAEDDC4}" type="pres">
      <dgm:prSet presAssocID="{72E6590A-2DF1-4790-AD6B-14C26B56FFFA}" presName="Name37" presStyleLbl="parChTrans1D3" presStyleIdx="15" presStyleCnt="30"/>
      <dgm:spPr/>
    </dgm:pt>
    <dgm:pt modelId="{24788371-B748-45A6-84E8-426C9E2D7F16}" type="pres">
      <dgm:prSet presAssocID="{F9387571-4CB4-4925-9027-9675041274D1}" presName="hierRoot2" presStyleCnt="0">
        <dgm:presLayoutVars>
          <dgm:hierBranch val="init"/>
        </dgm:presLayoutVars>
      </dgm:prSet>
      <dgm:spPr/>
    </dgm:pt>
    <dgm:pt modelId="{7F7979C5-C5FE-457B-9E66-A6A3F45CDC43}" type="pres">
      <dgm:prSet presAssocID="{F9387571-4CB4-4925-9027-9675041274D1}" presName="rootComposite" presStyleCnt="0"/>
      <dgm:spPr/>
    </dgm:pt>
    <dgm:pt modelId="{AB176A57-46AE-4B28-BE6A-0B0FDD71F3EA}" type="pres">
      <dgm:prSet presAssocID="{F9387571-4CB4-4925-9027-9675041274D1}" presName="rootText" presStyleLbl="node3" presStyleIdx="15" presStyleCnt="30">
        <dgm:presLayoutVars>
          <dgm:chPref val="3"/>
        </dgm:presLayoutVars>
      </dgm:prSet>
      <dgm:spPr/>
    </dgm:pt>
    <dgm:pt modelId="{1C1776A7-C6C7-4A9E-A945-5567CF3E1CB5}" type="pres">
      <dgm:prSet presAssocID="{F9387571-4CB4-4925-9027-9675041274D1}" presName="rootConnector" presStyleLbl="node3" presStyleIdx="15" presStyleCnt="30"/>
      <dgm:spPr/>
    </dgm:pt>
    <dgm:pt modelId="{5B1C7332-C22B-409A-B259-BF6C52EE5749}" type="pres">
      <dgm:prSet presAssocID="{F9387571-4CB4-4925-9027-9675041274D1}" presName="hierChild4" presStyleCnt="0"/>
      <dgm:spPr/>
    </dgm:pt>
    <dgm:pt modelId="{254FB7B4-501D-4E1E-BEE1-50B8860D58E4}" type="pres">
      <dgm:prSet presAssocID="{F9387571-4CB4-4925-9027-9675041274D1}" presName="hierChild5" presStyleCnt="0"/>
      <dgm:spPr/>
    </dgm:pt>
    <dgm:pt modelId="{20C390CF-4A88-431B-88EB-92D18FB0548E}" type="pres">
      <dgm:prSet presAssocID="{773B7B88-152B-414C-8219-EAA526FBC88A}" presName="Name37" presStyleLbl="parChTrans1D3" presStyleIdx="16" presStyleCnt="30"/>
      <dgm:spPr/>
    </dgm:pt>
    <dgm:pt modelId="{66E01E8D-8400-4B53-B6C5-C51F5CDD50E4}" type="pres">
      <dgm:prSet presAssocID="{106FC939-E920-479E-81B2-CC93319A1582}" presName="hierRoot2" presStyleCnt="0">
        <dgm:presLayoutVars>
          <dgm:hierBranch val="init"/>
        </dgm:presLayoutVars>
      </dgm:prSet>
      <dgm:spPr/>
    </dgm:pt>
    <dgm:pt modelId="{BBC77D17-B0CD-4D73-9F4C-4B1BC50B1428}" type="pres">
      <dgm:prSet presAssocID="{106FC939-E920-479E-81B2-CC93319A1582}" presName="rootComposite" presStyleCnt="0"/>
      <dgm:spPr/>
    </dgm:pt>
    <dgm:pt modelId="{4CBBAABF-EAB4-4DAE-A39A-230AAAEA22F9}" type="pres">
      <dgm:prSet presAssocID="{106FC939-E920-479E-81B2-CC93319A1582}" presName="rootText" presStyleLbl="node3" presStyleIdx="16" presStyleCnt="30">
        <dgm:presLayoutVars>
          <dgm:chPref val="3"/>
        </dgm:presLayoutVars>
      </dgm:prSet>
      <dgm:spPr/>
    </dgm:pt>
    <dgm:pt modelId="{5C2EC291-DAE2-4262-A251-98C720A8B733}" type="pres">
      <dgm:prSet presAssocID="{106FC939-E920-479E-81B2-CC93319A1582}" presName="rootConnector" presStyleLbl="node3" presStyleIdx="16" presStyleCnt="30"/>
      <dgm:spPr/>
    </dgm:pt>
    <dgm:pt modelId="{46D028C8-104A-48D1-8321-BD6A7C9B432F}" type="pres">
      <dgm:prSet presAssocID="{106FC939-E920-479E-81B2-CC93319A1582}" presName="hierChild4" presStyleCnt="0"/>
      <dgm:spPr/>
    </dgm:pt>
    <dgm:pt modelId="{9C755C72-41E0-4C94-ABE6-0E90DB30CA35}" type="pres">
      <dgm:prSet presAssocID="{106FC939-E920-479E-81B2-CC93319A1582}" presName="hierChild5" presStyleCnt="0"/>
      <dgm:spPr/>
    </dgm:pt>
    <dgm:pt modelId="{5B5D4ED6-174E-403B-A115-EAAB218DDC99}" type="pres">
      <dgm:prSet presAssocID="{C1E3DA06-226B-42D0-A959-F2A5C9206D19}" presName="hierChild5" presStyleCnt="0"/>
      <dgm:spPr/>
    </dgm:pt>
    <dgm:pt modelId="{307B3BDB-DEA8-45C9-9DAF-A7EE0CECB742}" type="pres">
      <dgm:prSet presAssocID="{BF97D3AD-069B-4CD3-AB5A-E51ABBEB8A85}" presName="Name37" presStyleLbl="parChTrans1D2" presStyleIdx="4" presStyleCnt="8"/>
      <dgm:spPr/>
    </dgm:pt>
    <dgm:pt modelId="{ABC294E1-4665-4D28-A5B1-FB652F46E4B0}" type="pres">
      <dgm:prSet presAssocID="{E5EC303F-1138-4680-BC3F-CA3FA76B92D4}" presName="hierRoot2" presStyleCnt="0">
        <dgm:presLayoutVars>
          <dgm:hierBranch val="init"/>
        </dgm:presLayoutVars>
      </dgm:prSet>
      <dgm:spPr/>
    </dgm:pt>
    <dgm:pt modelId="{C99AE37D-B15F-4485-A818-603CB2E9F611}" type="pres">
      <dgm:prSet presAssocID="{E5EC303F-1138-4680-BC3F-CA3FA76B92D4}" presName="rootComposite" presStyleCnt="0"/>
      <dgm:spPr/>
    </dgm:pt>
    <dgm:pt modelId="{AA80021D-763D-4AB2-BA4B-E41686055537}" type="pres">
      <dgm:prSet presAssocID="{E5EC303F-1138-4680-BC3F-CA3FA76B92D4}" presName="rootText" presStyleLbl="node2" presStyleIdx="4" presStyleCnt="8">
        <dgm:presLayoutVars>
          <dgm:chPref val="3"/>
        </dgm:presLayoutVars>
      </dgm:prSet>
      <dgm:spPr/>
    </dgm:pt>
    <dgm:pt modelId="{BD5C1E64-D586-45E8-A603-C4E63DDC4D69}" type="pres">
      <dgm:prSet presAssocID="{E5EC303F-1138-4680-BC3F-CA3FA76B92D4}" presName="rootConnector" presStyleLbl="node2" presStyleIdx="4" presStyleCnt="8"/>
      <dgm:spPr/>
    </dgm:pt>
    <dgm:pt modelId="{3202371E-0757-4C1C-A528-D4AE7EF5D503}" type="pres">
      <dgm:prSet presAssocID="{E5EC303F-1138-4680-BC3F-CA3FA76B92D4}" presName="hierChild4" presStyleCnt="0"/>
      <dgm:spPr/>
    </dgm:pt>
    <dgm:pt modelId="{BC700996-9386-40C0-9D31-EF1E76489161}" type="pres">
      <dgm:prSet presAssocID="{726E85A0-8986-401C-A322-099978380449}" presName="Name37" presStyleLbl="parChTrans1D3" presStyleIdx="17" presStyleCnt="30"/>
      <dgm:spPr/>
    </dgm:pt>
    <dgm:pt modelId="{8BB0FFCF-A792-4D31-896A-23EF0687B220}" type="pres">
      <dgm:prSet presAssocID="{E57B87A0-5E8B-4FB9-9E1A-EC4EB1068CCA}" presName="hierRoot2" presStyleCnt="0">
        <dgm:presLayoutVars>
          <dgm:hierBranch val="init"/>
        </dgm:presLayoutVars>
      </dgm:prSet>
      <dgm:spPr/>
    </dgm:pt>
    <dgm:pt modelId="{6B7CC57C-79C6-4EE6-86A3-2882A89BEAC2}" type="pres">
      <dgm:prSet presAssocID="{E57B87A0-5E8B-4FB9-9E1A-EC4EB1068CCA}" presName="rootComposite" presStyleCnt="0"/>
      <dgm:spPr/>
    </dgm:pt>
    <dgm:pt modelId="{CD8C5727-17E1-4C01-889D-1399E5F87BFF}" type="pres">
      <dgm:prSet presAssocID="{E57B87A0-5E8B-4FB9-9E1A-EC4EB1068CCA}" presName="rootText" presStyleLbl="node3" presStyleIdx="17" presStyleCnt="30">
        <dgm:presLayoutVars>
          <dgm:chPref val="3"/>
        </dgm:presLayoutVars>
      </dgm:prSet>
      <dgm:spPr/>
    </dgm:pt>
    <dgm:pt modelId="{6DF20CA2-E412-4614-92C7-00BB58B6982D}" type="pres">
      <dgm:prSet presAssocID="{E57B87A0-5E8B-4FB9-9E1A-EC4EB1068CCA}" presName="rootConnector" presStyleLbl="node3" presStyleIdx="17" presStyleCnt="30"/>
      <dgm:spPr/>
    </dgm:pt>
    <dgm:pt modelId="{9B306322-1E1C-4C92-B9EE-173630D0B692}" type="pres">
      <dgm:prSet presAssocID="{E57B87A0-5E8B-4FB9-9E1A-EC4EB1068CCA}" presName="hierChild4" presStyleCnt="0"/>
      <dgm:spPr/>
    </dgm:pt>
    <dgm:pt modelId="{838CD919-6DDC-47AE-A4D1-528BBB53B56F}" type="pres">
      <dgm:prSet presAssocID="{E57B87A0-5E8B-4FB9-9E1A-EC4EB1068CCA}" presName="hierChild5" presStyleCnt="0"/>
      <dgm:spPr/>
    </dgm:pt>
    <dgm:pt modelId="{64C7CDBA-D2F3-4375-B13E-20061C66663C}" type="pres">
      <dgm:prSet presAssocID="{31C02FE0-114F-434B-B7BD-71F2AE6FEE6A}" presName="Name37" presStyleLbl="parChTrans1D3" presStyleIdx="18" presStyleCnt="30"/>
      <dgm:spPr/>
    </dgm:pt>
    <dgm:pt modelId="{B9E6FA4D-C6D2-49F0-9FFC-4EA788A325EA}" type="pres">
      <dgm:prSet presAssocID="{1196B74F-9EC9-4954-BDB0-994983939F08}" presName="hierRoot2" presStyleCnt="0">
        <dgm:presLayoutVars>
          <dgm:hierBranch val="init"/>
        </dgm:presLayoutVars>
      </dgm:prSet>
      <dgm:spPr/>
    </dgm:pt>
    <dgm:pt modelId="{E25F2C6D-12D5-4EDD-87BB-30924DF406DB}" type="pres">
      <dgm:prSet presAssocID="{1196B74F-9EC9-4954-BDB0-994983939F08}" presName="rootComposite" presStyleCnt="0"/>
      <dgm:spPr/>
    </dgm:pt>
    <dgm:pt modelId="{7625DEBB-E5DE-46CF-8847-51930CD4B68F}" type="pres">
      <dgm:prSet presAssocID="{1196B74F-9EC9-4954-BDB0-994983939F08}" presName="rootText" presStyleLbl="node3" presStyleIdx="18" presStyleCnt="30">
        <dgm:presLayoutVars>
          <dgm:chPref val="3"/>
        </dgm:presLayoutVars>
      </dgm:prSet>
      <dgm:spPr/>
    </dgm:pt>
    <dgm:pt modelId="{1DAFB3BE-661C-4BCA-ADC7-B2B0DAA3B144}" type="pres">
      <dgm:prSet presAssocID="{1196B74F-9EC9-4954-BDB0-994983939F08}" presName="rootConnector" presStyleLbl="node3" presStyleIdx="18" presStyleCnt="30"/>
      <dgm:spPr/>
    </dgm:pt>
    <dgm:pt modelId="{8641F138-4FA1-403C-9B50-0F11600182C0}" type="pres">
      <dgm:prSet presAssocID="{1196B74F-9EC9-4954-BDB0-994983939F08}" presName="hierChild4" presStyleCnt="0"/>
      <dgm:spPr/>
    </dgm:pt>
    <dgm:pt modelId="{AB8489D8-DA79-4C35-9AEC-22FE90BCC400}" type="pres">
      <dgm:prSet presAssocID="{1196B74F-9EC9-4954-BDB0-994983939F08}" presName="hierChild5" presStyleCnt="0"/>
      <dgm:spPr/>
    </dgm:pt>
    <dgm:pt modelId="{02B80E26-CC81-4B24-A567-B4119DC9ECCA}" type="pres">
      <dgm:prSet presAssocID="{249E0112-6ED6-4685-9D67-47AE6E5D7050}" presName="Name37" presStyleLbl="parChTrans1D3" presStyleIdx="19" presStyleCnt="30"/>
      <dgm:spPr/>
    </dgm:pt>
    <dgm:pt modelId="{8BCA9864-2C8A-4A68-877B-DD835B1D2896}" type="pres">
      <dgm:prSet presAssocID="{E0E46185-6776-43F6-A618-B155CAF0B76B}" presName="hierRoot2" presStyleCnt="0">
        <dgm:presLayoutVars>
          <dgm:hierBranch val="init"/>
        </dgm:presLayoutVars>
      </dgm:prSet>
      <dgm:spPr/>
    </dgm:pt>
    <dgm:pt modelId="{4100E7C6-49B3-432E-A899-1DDD2C95A5C7}" type="pres">
      <dgm:prSet presAssocID="{E0E46185-6776-43F6-A618-B155CAF0B76B}" presName="rootComposite" presStyleCnt="0"/>
      <dgm:spPr/>
    </dgm:pt>
    <dgm:pt modelId="{B02920AB-A51C-49AD-B671-94EF108A5FF0}" type="pres">
      <dgm:prSet presAssocID="{E0E46185-6776-43F6-A618-B155CAF0B76B}" presName="rootText" presStyleLbl="node3" presStyleIdx="19" presStyleCnt="30">
        <dgm:presLayoutVars>
          <dgm:chPref val="3"/>
        </dgm:presLayoutVars>
      </dgm:prSet>
      <dgm:spPr/>
    </dgm:pt>
    <dgm:pt modelId="{4DAD716F-A49B-41B2-AA5E-2A3E362DE63D}" type="pres">
      <dgm:prSet presAssocID="{E0E46185-6776-43F6-A618-B155CAF0B76B}" presName="rootConnector" presStyleLbl="node3" presStyleIdx="19" presStyleCnt="30"/>
      <dgm:spPr/>
    </dgm:pt>
    <dgm:pt modelId="{E64DB258-B001-4AE3-8B7C-B2257A9127A6}" type="pres">
      <dgm:prSet presAssocID="{E0E46185-6776-43F6-A618-B155CAF0B76B}" presName="hierChild4" presStyleCnt="0"/>
      <dgm:spPr/>
    </dgm:pt>
    <dgm:pt modelId="{A433D6EC-E12E-471D-A7AB-035C3CF7DF88}" type="pres">
      <dgm:prSet presAssocID="{E0E46185-6776-43F6-A618-B155CAF0B76B}" presName="hierChild5" presStyleCnt="0"/>
      <dgm:spPr/>
    </dgm:pt>
    <dgm:pt modelId="{5A38261A-A6C9-4043-BD67-DE97E54D03CD}" type="pres">
      <dgm:prSet presAssocID="{E5EC303F-1138-4680-BC3F-CA3FA76B92D4}" presName="hierChild5" presStyleCnt="0"/>
      <dgm:spPr/>
    </dgm:pt>
    <dgm:pt modelId="{4AD94EBF-A6EF-4223-B774-C462A5291518}" type="pres">
      <dgm:prSet presAssocID="{7113C5A8-B88E-4E3A-9BEA-9B2A8145AC06}" presName="Name37" presStyleLbl="parChTrans1D2" presStyleIdx="5" presStyleCnt="8"/>
      <dgm:spPr/>
    </dgm:pt>
    <dgm:pt modelId="{CB0E3585-A545-429B-B660-8A71B3BFBEB8}" type="pres">
      <dgm:prSet presAssocID="{A64E2D5F-C43C-4747-ACF7-F82AD0BEBE55}" presName="hierRoot2" presStyleCnt="0">
        <dgm:presLayoutVars>
          <dgm:hierBranch val="init"/>
        </dgm:presLayoutVars>
      </dgm:prSet>
      <dgm:spPr/>
    </dgm:pt>
    <dgm:pt modelId="{2A87C46F-7474-4443-8002-A0491C4E6078}" type="pres">
      <dgm:prSet presAssocID="{A64E2D5F-C43C-4747-ACF7-F82AD0BEBE55}" presName="rootComposite" presStyleCnt="0"/>
      <dgm:spPr/>
    </dgm:pt>
    <dgm:pt modelId="{DE8C2C0A-505A-4D37-A80B-5982F99E6A08}" type="pres">
      <dgm:prSet presAssocID="{A64E2D5F-C43C-4747-ACF7-F82AD0BEBE55}" presName="rootText" presStyleLbl="node2" presStyleIdx="5" presStyleCnt="8">
        <dgm:presLayoutVars>
          <dgm:chPref val="3"/>
        </dgm:presLayoutVars>
      </dgm:prSet>
      <dgm:spPr/>
    </dgm:pt>
    <dgm:pt modelId="{862E3047-03CE-4E2E-B728-96A1BED60C02}" type="pres">
      <dgm:prSet presAssocID="{A64E2D5F-C43C-4747-ACF7-F82AD0BEBE55}" presName="rootConnector" presStyleLbl="node2" presStyleIdx="5" presStyleCnt="8"/>
      <dgm:spPr/>
    </dgm:pt>
    <dgm:pt modelId="{67B2D44B-9736-4E5E-9A4F-A41088464200}" type="pres">
      <dgm:prSet presAssocID="{A64E2D5F-C43C-4747-ACF7-F82AD0BEBE55}" presName="hierChild4" presStyleCnt="0"/>
      <dgm:spPr/>
    </dgm:pt>
    <dgm:pt modelId="{89D34678-321F-4032-8782-05F3670A4323}" type="pres">
      <dgm:prSet presAssocID="{82351CB1-8020-47E0-920E-C4C8CBE9A277}" presName="Name37" presStyleLbl="parChTrans1D3" presStyleIdx="20" presStyleCnt="30"/>
      <dgm:spPr/>
    </dgm:pt>
    <dgm:pt modelId="{125EFEC2-BE2C-4197-B10F-D605057E4B20}" type="pres">
      <dgm:prSet presAssocID="{181F6BCB-F6A1-478B-B07A-ED279F58003B}" presName="hierRoot2" presStyleCnt="0">
        <dgm:presLayoutVars>
          <dgm:hierBranch val="init"/>
        </dgm:presLayoutVars>
      </dgm:prSet>
      <dgm:spPr/>
    </dgm:pt>
    <dgm:pt modelId="{FA4814E1-5335-4AA5-A892-AE1400A02480}" type="pres">
      <dgm:prSet presAssocID="{181F6BCB-F6A1-478B-B07A-ED279F58003B}" presName="rootComposite" presStyleCnt="0"/>
      <dgm:spPr/>
    </dgm:pt>
    <dgm:pt modelId="{2DD2FBDE-3AE7-4A6D-AA0C-BDF01D5B4891}" type="pres">
      <dgm:prSet presAssocID="{181F6BCB-F6A1-478B-B07A-ED279F58003B}" presName="rootText" presStyleLbl="node3" presStyleIdx="20" presStyleCnt="30">
        <dgm:presLayoutVars>
          <dgm:chPref val="3"/>
        </dgm:presLayoutVars>
      </dgm:prSet>
      <dgm:spPr/>
    </dgm:pt>
    <dgm:pt modelId="{AF306531-2FB5-4E57-8024-BE557E5F9461}" type="pres">
      <dgm:prSet presAssocID="{181F6BCB-F6A1-478B-B07A-ED279F58003B}" presName="rootConnector" presStyleLbl="node3" presStyleIdx="20" presStyleCnt="30"/>
      <dgm:spPr/>
    </dgm:pt>
    <dgm:pt modelId="{485F1A5B-6764-4341-8EBB-401CBFA78D31}" type="pres">
      <dgm:prSet presAssocID="{181F6BCB-F6A1-478B-B07A-ED279F58003B}" presName="hierChild4" presStyleCnt="0"/>
      <dgm:spPr/>
    </dgm:pt>
    <dgm:pt modelId="{2F483EAD-A1ED-4C2B-AA79-A9E3984916CD}" type="pres">
      <dgm:prSet presAssocID="{181F6BCB-F6A1-478B-B07A-ED279F58003B}" presName="hierChild5" presStyleCnt="0"/>
      <dgm:spPr/>
    </dgm:pt>
    <dgm:pt modelId="{4A672035-6A5A-43B5-908F-0F936B60DE9B}" type="pres">
      <dgm:prSet presAssocID="{2BB967EC-A49C-447A-9F6A-D3CBBB34A6E5}" presName="Name37" presStyleLbl="parChTrans1D3" presStyleIdx="21" presStyleCnt="30"/>
      <dgm:spPr/>
    </dgm:pt>
    <dgm:pt modelId="{DD370D89-EC1E-423A-94E0-8C069339A8F8}" type="pres">
      <dgm:prSet presAssocID="{0196A6F6-816C-471E-AB20-E45792B4C6D1}" presName="hierRoot2" presStyleCnt="0">
        <dgm:presLayoutVars>
          <dgm:hierBranch val="init"/>
        </dgm:presLayoutVars>
      </dgm:prSet>
      <dgm:spPr/>
    </dgm:pt>
    <dgm:pt modelId="{481372D1-27CF-4919-B480-2C38AF14EEC9}" type="pres">
      <dgm:prSet presAssocID="{0196A6F6-816C-471E-AB20-E45792B4C6D1}" presName="rootComposite" presStyleCnt="0"/>
      <dgm:spPr/>
    </dgm:pt>
    <dgm:pt modelId="{30B11FE5-725A-47D5-97FC-705BF2685466}" type="pres">
      <dgm:prSet presAssocID="{0196A6F6-816C-471E-AB20-E45792B4C6D1}" presName="rootText" presStyleLbl="node3" presStyleIdx="21" presStyleCnt="30">
        <dgm:presLayoutVars>
          <dgm:chPref val="3"/>
        </dgm:presLayoutVars>
      </dgm:prSet>
      <dgm:spPr/>
    </dgm:pt>
    <dgm:pt modelId="{5BCEEF4D-308C-4184-A16C-A1655F3AB993}" type="pres">
      <dgm:prSet presAssocID="{0196A6F6-816C-471E-AB20-E45792B4C6D1}" presName="rootConnector" presStyleLbl="node3" presStyleIdx="21" presStyleCnt="30"/>
      <dgm:spPr/>
    </dgm:pt>
    <dgm:pt modelId="{01864A0A-F21E-4FED-924C-9A449CF3D9C5}" type="pres">
      <dgm:prSet presAssocID="{0196A6F6-816C-471E-AB20-E45792B4C6D1}" presName="hierChild4" presStyleCnt="0"/>
      <dgm:spPr/>
    </dgm:pt>
    <dgm:pt modelId="{984B0EFC-2A3E-4AE2-A3BF-7C1EE3F0030E}" type="pres">
      <dgm:prSet presAssocID="{0196A6F6-816C-471E-AB20-E45792B4C6D1}" presName="hierChild5" presStyleCnt="0"/>
      <dgm:spPr/>
    </dgm:pt>
    <dgm:pt modelId="{D65A79E5-239A-4D79-94CF-72FF452E0754}" type="pres">
      <dgm:prSet presAssocID="{FCB6C723-526A-4615-AF06-B57C072EE490}" presName="Name37" presStyleLbl="parChTrans1D3" presStyleIdx="22" presStyleCnt="30"/>
      <dgm:spPr/>
    </dgm:pt>
    <dgm:pt modelId="{BB8C007A-2DD0-4AE6-8E38-B0C6DECA72E3}" type="pres">
      <dgm:prSet presAssocID="{8D566F71-C339-43C0-B127-AA3B5BBEEA81}" presName="hierRoot2" presStyleCnt="0">
        <dgm:presLayoutVars>
          <dgm:hierBranch val="init"/>
        </dgm:presLayoutVars>
      </dgm:prSet>
      <dgm:spPr/>
    </dgm:pt>
    <dgm:pt modelId="{2E7E1321-5029-4491-B87F-A9D718974262}" type="pres">
      <dgm:prSet presAssocID="{8D566F71-C339-43C0-B127-AA3B5BBEEA81}" presName="rootComposite" presStyleCnt="0"/>
      <dgm:spPr/>
    </dgm:pt>
    <dgm:pt modelId="{F7B96D91-0A06-4569-8DA1-0DD58E41320D}" type="pres">
      <dgm:prSet presAssocID="{8D566F71-C339-43C0-B127-AA3B5BBEEA81}" presName="rootText" presStyleLbl="node3" presStyleIdx="22" presStyleCnt="30">
        <dgm:presLayoutVars>
          <dgm:chPref val="3"/>
        </dgm:presLayoutVars>
      </dgm:prSet>
      <dgm:spPr/>
    </dgm:pt>
    <dgm:pt modelId="{D648E467-D262-47AB-AD53-CE2783AA9F73}" type="pres">
      <dgm:prSet presAssocID="{8D566F71-C339-43C0-B127-AA3B5BBEEA81}" presName="rootConnector" presStyleLbl="node3" presStyleIdx="22" presStyleCnt="30"/>
      <dgm:spPr/>
    </dgm:pt>
    <dgm:pt modelId="{98EF2818-F637-4D51-874B-55449D8C8E89}" type="pres">
      <dgm:prSet presAssocID="{8D566F71-C339-43C0-B127-AA3B5BBEEA81}" presName="hierChild4" presStyleCnt="0"/>
      <dgm:spPr/>
    </dgm:pt>
    <dgm:pt modelId="{CFE8E490-5DF2-4950-BFF2-DEF9B410D22D}" type="pres">
      <dgm:prSet presAssocID="{8D566F71-C339-43C0-B127-AA3B5BBEEA81}" presName="hierChild5" presStyleCnt="0"/>
      <dgm:spPr/>
    </dgm:pt>
    <dgm:pt modelId="{69A2127D-7E73-4C2B-86C3-7BB8FDCCF216}" type="pres">
      <dgm:prSet presAssocID="{49D6BAE6-302F-4E58-9979-F1E5AB1CF744}" presName="Name37" presStyleLbl="parChTrans1D3" presStyleIdx="23" presStyleCnt="30"/>
      <dgm:spPr/>
    </dgm:pt>
    <dgm:pt modelId="{A5F645E6-796D-4C5C-BF18-E024C7E78050}" type="pres">
      <dgm:prSet presAssocID="{F7473160-6401-4249-9EBD-E80E33F705AA}" presName="hierRoot2" presStyleCnt="0">
        <dgm:presLayoutVars>
          <dgm:hierBranch val="init"/>
        </dgm:presLayoutVars>
      </dgm:prSet>
      <dgm:spPr/>
    </dgm:pt>
    <dgm:pt modelId="{E1108D8D-687E-489B-9B10-E1F8E72BC1D2}" type="pres">
      <dgm:prSet presAssocID="{F7473160-6401-4249-9EBD-E80E33F705AA}" presName="rootComposite" presStyleCnt="0"/>
      <dgm:spPr/>
    </dgm:pt>
    <dgm:pt modelId="{64A5788C-C4D3-4252-B0F0-BA93CE75C7C6}" type="pres">
      <dgm:prSet presAssocID="{F7473160-6401-4249-9EBD-E80E33F705AA}" presName="rootText" presStyleLbl="node3" presStyleIdx="23" presStyleCnt="30">
        <dgm:presLayoutVars>
          <dgm:chPref val="3"/>
        </dgm:presLayoutVars>
      </dgm:prSet>
      <dgm:spPr/>
    </dgm:pt>
    <dgm:pt modelId="{CB79FF67-4356-49C0-A2D0-43E4F34C8871}" type="pres">
      <dgm:prSet presAssocID="{F7473160-6401-4249-9EBD-E80E33F705AA}" presName="rootConnector" presStyleLbl="node3" presStyleIdx="23" presStyleCnt="30"/>
      <dgm:spPr/>
    </dgm:pt>
    <dgm:pt modelId="{4EC724CA-1CEE-4DBB-B667-20BE35659D8A}" type="pres">
      <dgm:prSet presAssocID="{F7473160-6401-4249-9EBD-E80E33F705AA}" presName="hierChild4" presStyleCnt="0"/>
      <dgm:spPr/>
    </dgm:pt>
    <dgm:pt modelId="{8E4D1F85-28B6-4C4C-BA7A-9B7B0005D72D}" type="pres">
      <dgm:prSet presAssocID="{F7473160-6401-4249-9EBD-E80E33F705AA}" presName="hierChild5" presStyleCnt="0"/>
      <dgm:spPr/>
    </dgm:pt>
    <dgm:pt modelId="{A023D21B-16FB-4076-891C-C75C13B4AC10}" type="pres">
      <dgm:prSet presAssocID="{BE5200FD-9E36-4B7E-9BB9-6B210721338D}" presName="Name37" presStyleLbl="parChTrans1D3" presStyleIdx="24" presStyleCnt="30"/>
      <dgm:spPr/>
    </dgm:pt>
    <dgm:pt modelId="{66CAEC06-8C99-4427-87A6-89D206839F8D}" type="pres">
      <dgm:prSet presAssocID="{6D1100EC-6D1C-42B6-828D-5C282262EB3D}" presName="hierRoot2" presStyleCnt="0">
        <dgm:presLayoutVars>
          <dgm:hierBranch val="init"/>
        </dgm:presLayoutVars>
      </dgm:prSet>
      <dgm:spPr/>
    </dgm:pt>
    <dgm:pt modelId="{9105F134-AB9E-4F21-BF95-6FC1F5C1E33B}" type="pres">
      <dgm:prSet presAssocID="{6D1100EC-6D1C-42B6-828D-5C282262EB3D}" presName="rootComposite" presStyleCnt="0"/>
      <dgm:spPr/>
    </dgm:pt>
    <dgm:pt modelId="{B6C28424-A23B-4F8F-A481-FAA585EFEEEE}" type="pres">
      <dgm:prSet presAssocID="{6D1100EC-6D1C-42B6-828D-5C282262EB3D}" presName="rootText" presStyleLbl="node3" presStyleIdx="24" presStyleCnt="30">
        <dgm:presLayoutVars>
          <dgm:chPref val="3"/>
        </dgm:presLayoutVars>
      </dgm:prSet>
      <dgm:spPr/>
    </dgm:pt>
    <dgm:pt modelId="{60841EC8-F190-4F0D-93CE-A12D1A931B19}" type="pres">
      <dgm:prSet presAssocID="{6D1100EC-6D1C-42B6-828D-5C282262EB3D}" presName="rootConnector" presStyleLbl="node3" presStyleIdx="24" presStyleCnt="30"/>
      <dgm:spPr/>
    </dgm:pt>
    <dgm:pt modelId="{FFF2887A-4694-4423-BA97-0EBBFE3D2228}" type="pres">
      <dgm:prSet presAssocID="{6D1100EC-6D1C-42B6-828D-5C282262EB3D}" presName="hierChild4" presStyleCnt="0"/>
      <dgm:spPr/>
    </dgm:pt>
    <dgm:pt modelId="{8FC6BB55-08CB-4582-835C-F7309448F1C6}" type="pres">
      <dgm:prSet presAssocID="{6D1100EC-6D1C-42B6-828D-5C282262EB3D}" presName="hierChild5" presStyleCnt="0"/>
      <dgm:spPr/>
    </dgm:pt>
    <dgm:pt modelId="{4D9C9C38-FCD1-4A52-8665-AA40EA0263F3}" type="pres">
      <dgm:prSet presAssocID="{A64E2D5F-C43C-4747-ACF7-F82AD0BEBE55}" presName="hierChild5" presStyleCnt="0"/>
      <dgm:spPr/>
    </dgm:pt>
    <dgm:pt modelId="{1AE62F4A-F828-43CD-9443-CED4E6655247}" type="pres">
      <dgm:prSet presAssocID="{BD33EAFB-685A-428B-AE9E-67B8914004AF}" presName="Name37" presStyleLbl="parChTrans1D2" presStyleIdx="6" presStyleCnt="8"/>
      <dgm:spPr/>
    </dgm:pt>
    <dgm:pt modelId="{5A1EA9F7-A1C0-4805-9933-AA475890BCAA}" type="pres">
      <dgm:prSet presAssocID="{1BAD0339-BDBC-4854-BE37-643EB62AD91D}" presName="hierRoot2" presStyleCnt="0">
        <dgm:presLayoutVars>
          <dgm:hierBranch val="init"/>
        </dgm:presLayoutVars>
      </dgm:prSet>
      <dgm:spPr/>
    </dgm:pt>
    <dgm:pt modelId="{75485DD8-5E05-44E8-BF05-1FFCFDAE602B}" type="pres">
      <dgm:prSet presAssocID="{1BAD0339-BDBC-4854-BE37-643EB62AD91D}" presName="rootComposite" presStyleCnt="0"/>
      <dgm:spPr/>
    </dgm:pt>
    <dgm:pt modelId="{9004CD8F-521F-48BB-B1A8-4751D7BC4C81}" type="pres">
      <dgm:prSet presAssocID="{1BAD0339-BDBC-4854-BE37-643EB62AD91D}" presName="rootText" presStyleLbl="node2" presStyleIdx="6" presStyleCnt="8">
        <dgm:presLayoutVars>
          <dgm:chPref val="3"/>
        </dgm:presLayoutVars>
      </dgm:prSet>
      <dgm:spPr/>
    </dgm:pt>
    <dgm:pt modelId="{E8C45A1D-CD2C-4BD0-88E3-5854304CD890}" type="pres">
      <dgm:prSet presAssocID="{1BAD0339-BDBC-4854-BE37-643EB62AD91D}" presName="rootConnector" presStyleLbl="node2" presStyleIdx="6" presStyleCnt="8"/>
      <dgm:spPr/>
    </dgm:pt>
    <dgm:pt modelId="{1922716F-BD9E-4422-A7D9-983BB5D1CED7}" type="pres">
      <dgm:prSet presAssocID="{1BAD0339-BDBC-4854-BE37-643EB62AD91D}" presName="hierChild4" presStyleCnt="0"/>
      <dgm:spPr/>
    </dgm:pt>
    <dgm:pt modelId="{D3A60B08-7E6F-47C1-A168-C224FF6D7F07}" type="pres">
      <dgm:prSet presAssocID="{07CD2C50-9631-426F-8CD9-8C3ED0F7150C}" presName="Name37" presStyleLbl="parChTrans1D3" presStyleIdx="25" presStyleCnt="30"/>
      <dgm:spPr/>
    </dgm:pt>
    <dgm:pt modelId="{211E8BD2-821E-4571-8A90-E12D25750E93}" type="pres">
      <dgm:prSet presAssocID="{77511F1D-8EF9-491B-BF10-301FB6800E8D}" presName="hierRoot2" presStyleCnt="0">
        <dgm:presLayoutVars>
          <dgm:hierBranch val="init"/>
        </dgm:presLayoutVars>
      </dgm:prSet>
      <dgm:spPr/>
    </dgm:pt>
    <dgm:pt modelId="{146C0E60-54A1-493A-BD9E-D094AD0145D5}" type="pres">
      <dgm:prSet presAssocID="{77511F1D-8EF9-491B-BF10-301FB6800E8D}" presName="rootComposite" presStyleCnt="0"/>
      <dgm:spPr/>
    </dgm:pt>
    <dgm:pt modelId="{F0059663-D3E6-4DE2-BC49-B080D7611536}" type="pres">
      <dgm:prSet presAssocID="{77511F1D-8EF9-491B-BF10-301FB6800E8D}" presName="rootText" presStyleLbl="node3" presStyleIdx="25" presStyleCnt="30">
        <dgm:presLayoutVars>
          <dgm:chPref val="3"/>
        </dgm:presLayoutVars>
      </dgm:prSet>
      <dgm:spPr/>
    </dgm:pt>
    <dgm:pt modelId="{CD18A902-B0BA-47F7-A0C0-BB032A109A8D}" type="pres">
      <dgm:prSet presAssocID="{77511F1D-8EF9-491B-BF10-301FB6800E8D}" presName="rootConnector" presStyleLbl="node3" presStyleIdx="25" presStyleCnt="30"/>
      <dgm:spPr/>
    </dgm:pt>
    <dgm:pt modelId="{B7961FD6-3FEF-4EBC-A971-A8508E5FE962}" type="pres">
      <dgm:prSet presAssocID="{77511F1D-8EF9-491B-BF10-301FB6800E8D}" presName="hierChild4" presStyleCnt="0"/>
      <dgm:spPr/>
    </dgm:pt>
    <dgm:pt modelId="{D2C9F1A8-99BD-4A51-AF38-10627DF8E024}" type="pres">
      <dgm:prSet presAssocID="{77511F1D-8EF9-491B-BF10-301FB6800E8D}" presName="hierChild5" presStyleCnt="0"/>
      <dgm:spPr/>
    </dgm:pt>
    <dgm:pt modelId="{6CB065FB-EC73-4365-A1E6-F84A2D8A75FE}" type="pres">
      <dgm:prSet presAssocID="{ED27F5D7-8728-4C73-9048-C123C87360BE}" presName="Name37" presStyleLbl="parChTrans1D3" presStyleIdx="26" presStyleCnt="30"/>
      <dgm:spPr/>
    </dgm:pt>
    <dgm:pt modelId="{066D9DDA-8CF5-45C3-BAC9-A8A2B99107B3}" type="pres">
      <dgm:prSet presAssocID="{0BA256EB-6C1A-404A-9822-552F48888EDD}" presName="hierRoot2" presStyleCnt="0">
        <dgm:presLayoutVars>
          <dgm:hierBranch val="init"/>
        </dgm:presLayoutVars>
      </dgm:prSet>
      <dgm:spPr/>
    </dgm:pt>
    <dgm:pt modelId="{0EB13D21-1A4C-4233-8D5D-D67B33B54DA6}" type="pres">
      <dgm:prSet presAssocID="{0BA256EB-6C1A-404A-9822-552F48888EDD}" presName="rootComposite" presStyleCnt="0"/>
      <dgm:spPr/>
    </dgm:pt>
    <dgm:pt modelId="{17642A7F-C60C-44D6-ABB9-1B18A75FEB90}" type="pres">
      <dgm:prSet presAssocID="{0BA256EB-6C1A-404A-9822-552F48888EDD}" presName="rootText" presStyleLbl="node3" presStyleIdx="26" presStyleCnt="30">
        <dgm:presLayoutVars>
          <dgm:chPref val="3"/>
        </dgm:presLayoutVars>
      </dgm:prSet>
      <dgm:spPr/>
    </dgm:pt>
    <dgm:pt modelId="{46F99FC4-A571-4DB1-927C-346FD23B395E}" type="pres">
      <dgm:prSet presAssocID="{0BA256EB-6C1A-404A-9822-552F48888EDD}" presName="rootConnector" presStyleLbl="node3" presStyleIdx="26" presStyleCnt="30"/>
      <dgm:spPr/>
    </dgm:pt>
    <dgm:pt modelId="{AF43317B-FE13-46F5-A63B-6465DE665A1D}" type="pres">
      <dgm:prSet presAssocID="{0BA256EB-6C1A-404A-9822-552F48888EDD}" presName="hierChild4" presStyleCnt="0"/>
      <dgm:spPr/>
    </dgm:pt>
    <dgm:pt modelId="{0F99BDAD-9ECF-4F4A-AA90-C9F2B37DE205}" type="pres">
      <dgm:prSet presAssocID="{0BA256EB-6C1A-404A-9822-552F48888EDD}" presName="hierChild5" presStyleCnt="0"/>
      <dgm:spPr/>
    </dgm:pt>
    <dgm:pt modelId="{D0F2D0A0-4967-4D85-8D0C-97FAD74AF481}" type="pres">
      <dgm:prSet presAssocID="{A38FBAD2-2F31-4110-AD4F-ADD92701D6A4}" presName="Name37" presStyleLbl="parChTrans1D3" presStyleIdx="27" presStyleCnt="30"/>
      <dgm:spPr/>
    </dgm:pt>
    <dgm:pt modelId="{F3D3E59F-E648-42B9-8866-4FCB6B91D09B}" type="pres">
      <dgm:prSet presAssocID="{6B180080-FC16-4518-9576-942BA4F66AF6}" presName="hierRoot2" presStyleCnt="0">
        <dgm:presLayoutVars>
          <dgm:hierBranch val="init"/>
        </dgm:presLayoutVars>
      </dgm:prSet>
      <dgm:spPr/>
    </dgm:pt>
    <dgm:pt modelId="{B432B2E2-0311-45D1-8455-8EFC8AD62F1D}" type="pres">
      <dgm:prSet presAssocID="{6B180080-FC16-4518-9576-942BA4F66AF6}" presName="rootComposite" presStyleCnt="0"/>
      <dgm:spPr/>
    </dgm:pt>
    <dgm:pt modelId="{69BB326F-E6DD-4078-A287-FC786B05584C}" type="pres">
      <dgm:prSet presAssocID="{6B180080-FC16-4518-9576-942BA4F66AF6}" presName="rootText" presStyleLbl="node3" presStyleIdx="27" presStyleCnt="30">
        <dgm:presLayoutVars>
          <dgm:chPref val="3"/>
        </dgm:presLayoutVars>
      </dgm:prSet>
      <dgm:spPr/>
    </dgm:pt>
    <dgm:pt modelId="{E36E21B7-2582-41DA-9020-4F2B924D86C3}" type="pres">
      <dgm:prSet presAssocID="{6B180080-FC16-4518-9576-942BA4F66AF6}" presName="rootConnector" presStyleLbl="node3" presStyleIdx="27" presStyleCnt="30"/>
      <dgm:spPr/>
    </dgm:pt>
    <dgm:pt modelId="{A205F8AA-9871-4D6D-BDB6-EC339A9D0EF4}" type="pres">
      <dgm:prSet presAssocID="{6B180080-FC16-4518-9576-942BA4F66AF6}" presName="hierChild4" presStyleCnt="0"/>
      <dgm:spPr/>
    </dgm:pt>
    <dgm:pt modelId="{BE8ED005-22EA-4007-A02C-B8D87CF6BDE3}" type="pres">
      <dgm:prSet presAssocID="{6B180080-FC16-4518-9576-942BA4F66AF6}" presName="hierChild5" presStyleCnt="0"/>
      <dgm:spPr/>
    </dgm:pt>
    <dgm:pt modelId="{F2C25F47-126D-4A97-AE0C-28DED15E6F9B}" type="pres">
      <dgm:prSet presAssocID="{1BAD0339-BDBC-4854-BE37-643EB62AD91D}" presName="hierChild5" presStyleCnt="0"/>
      <dgm:spPr/>
    </dgm:pt>
    <dgm:pt modelId="{067FE705-6597-4F85-BEB2-F59D21507658}" type="pres">
      <dgm:prSet presAssocID="{24F2D21D-FF47-4747-9182-92CAC3C1666E}" presName="Name37" presStyleLbl="parChTrans1D2" presStyleIdx="7" presStyleCnt="8"/>
      <dgm:spPr/>
    </dgm:pt>
    <dgm:pt modelId="{9B10ACE1-DFFA-45D9-8700-BC2A3BEE48CA}" type="pres">
      <dgm:prSet presAssocID="{02B9D0B1-10F3-4A5A-86EC-3655FF1448AF}" presName="hierRoot2" presStyleCnt="0">
        <dgm:presLayoutVars>
          <dgm:hierBranch val="init"/>
        </dgm:presLayoutVars>
      </dgm:prSet>
      <dgm:spPr/>
    </dgm:pt>
    <dgm:pt modelId="{5C43B95C-8C97-4145-9570-803D67363D77}" type="pres">
      <dgm:prSet presAssocID="{02B9D0B1-10F3-4A5A-86EC-3655FF1448AF}" presName="rootComposite" presStyleCnt="0"/>
      <dgm:spPr/>
    </dgm:pt>
    <dgm:pt modelId="{B9369C0E-00F2-4637-AA0F-07D8AD5387D3}" type="pres">
      <dgm:prSet presAssocID="{02B9D0B1-10F3-4A5A-86EC-3655FF1448AF}" presName="rootText" presStyleLbl="node2" presStyleIdx="7" presStyleCnt="8">
        <dgm:presLayoutVars>
          <dgm:chPref val="3"/>
        </dgm:presLayoutVars>
      </dgm:prSet>
      <dgm:spPr/>
    </dgm:pt>
    <dgm:pt modelId="{595855D8-AC55-49E2-8E9D-9AF1D15CA087}" type="pres">
      <dgm:prSet presAssocID="{02B9D0B1-10F3-4A5A-86EC-3655FF1448AF}" presName="rootConnector" presStyleLbl="node2" presStyleIdx="7" presStyleCnt="8"/>
      <dgm:spPr/>
    </dgm:pt>
    <dgm:pt modelId="{5603CE40-143B-4884-9EDA-CBA2F3D6BCA6}" type="pres">
      <dgm:prSet presAssocID="{02B9D0B1-10F3-4A5A-86EC-3655FF1448AF}" presName="hierChild4" presStyleCnt="0"/>
      <dgm:spPr/>
    </dgm:pt>
    <dgm:pt modelId="{B7732A07-5B57-42A0-BDD2-677EE8942A38}" type="pres">
      <dgm:prSet presAssocID="{3B9D4EB4-4DDC-4AD4-9680-41034701E8E3}" presName="Name37" presStyleLbl="parChTrans1D3" presStyleIdx="28" presStyleCnt="30"/>
      <dgm:spPr/>
    </dgm:pt>
    <dgm:pt modelId="{4DA3CDF9-83EE-4424-A395-2DB36CF57134}" type="pres">
      <dgm:prSet presAssocID="{69ACE048-1DE8-495F-B5A8-1ED1978FE5A0}" presName="hierRoot2" presStyleCnt="0">
        <dgm:presLayoutVars>
          <dgm:hierBranch val="init"/>
        </dgm:presLayoutVars>
      </dgm:prSet>
      <dgm:spPr/>
    </dgm:pt>
    <dgm:pt modelId="{314CF6A6-E0B6-434F-8354-72FEEB5376AD}" type="pres">
      <dgm:prSet presAssocID="{69ACE048-1DE8-495F-B5A8-1ED1978FE5A0}" presName="rootComposite" presStyleCnt="0"/>
      <dgm:spPr/>
    </dgm:pt>
    <dgm:pt modelId="{B012D76E-3474-412C-9306-A45686A2EEE8}" type="pres">
      <dgm:prSet presAssocID="{69ACE048-1DE8-495F-B5A8-1ED1978FE5A0}" presName="rootText" presStyleLbl="node3" presStyleIdx="28" presStyleCnt="30">
        <dgm:presLayoutVars>
          <dgm:chPref val="3"/>
        </dgm:presLayoutVars>
      </dgm:prSet>
      <dgm:spPr/>
    </dgm:pt>
    <dgm:pt modelId="{7F9C4629-8A86-4F7C-A540-47D1A2BD1B1D}" type="pres">
      <dgm:prSet presAssocID="{69ACE048-1DE8-495F-B5A8-1ED1978FE5A0}" presName="rootConnector" presStyleLbl="node3" presStyleIdx="28" presStyleCnt="30"/>
      <dgm:spPr/>
    </dgm:pt>
    <dgm:pt modelId="{8259420B-434E-4755-9C07-022D231DD236}" type="pres">
      <dgm:prSet presAssocID="{69ACE048-1DE8-495F-B5A8-1ED1978FE5A0}" presName="hierChild4" presStyleCnt="0"/>
      <dgm:spPr/>
    </dgm:pt>
    <dgm:pt modelId="{F17B4BA6-1332-41C5-8E89-F78C2340551D}" type="pres">
      <dgm:prSet presAssocID="{69ACE048-1DE8-495F-B5A8-1ED1978FE5A0}" presName="hierChild5" presStyleCnt="0"/>
      <dgm:spPr/>
    </dgm:pt>
    <dgm:pt modelId="{887A275A-D055-4A3D-9CE6-0D1640BC152B}" type="pres">
      <dgm:prSet presAssocID="{52D862E3-E0F4-40A3-92EA-1D9EB59C2EA6}" presName="Name37" presStyleLbl="parChTrans1D3" presStyleIdx="29" presStyleCnt="30"/>
      <dgm:spPr/>
    </dgm:pt>
    <dgm:pt modelId="{DEA548D7-C45D-4C9E-AB6E-1F2C864A1FC6}" type="pres">
      <dgm:prSet presAssocID="{D722B236-29C7-41B6-83DE-E0371B2F5575}" presName="hierRoot2" presStyleCnt="0">
        <dgm:presLayoutVars>
          <dgm:hierBranch val="init"/>
        </dgm:presLayoutVars>
      </dgm:prSet>
      <dgm:spPr/>
    </dgm:pt>
    <dgm:pt modelId="{0332E26D-1CB7-4DF9-B68E-1F7260B45ED9}" type="pres">
      <dgm:prSet presAssocID="{D722B236-29C7-41B6-83DE-E0371B2F5575}" presName="rootComposite" presStyleCnt="0"/>
      <dgm:spPr/>
    </dgm:pt>
    <dgm:pt modelId="{6C9C5A7D-D53A-4B37-BDDE-04CB780779ED}" type="pres">
      <dgm:prSet presAssocID="{D722B236-29C7-41B6-83DE-E0371B2F5575}" presName="rootText" presStyleLbl="node3" presStyleIdx="29" presStyleCnt="30">
        <dgm:presLayoutVars>
          <dgm:chPref val="3"/>
        </dgm:presLayoutVars>
      </dgm:prSet>
      <dgm:spPr/>
    </dgm:pt>
    <dgm:pt modelId="{7961D2D5-82BB-4BE6-B6A7-B0B8FE5BAF57}" type="pres">
      <dgm:prSet presAssocID="{D722B236-29C7-41B6-83DE-E0371B2F5575}" presName="rootConnector" presStyleLbl="node3" presStyleIdx="29" presStyleCnt="30"/>
      <dgm:spPr/>
    </dgm:pt>
    <dgm:pt modelId="{C16F4304-E397-4A73-9BE9-2A46B8A5049D}" type="pres">
      <dgm:prSet presAssocID="{D722B236-29C7-41B6-83DE-E0371B2F5575}" presName="hierChild4" presStyleCnt="0"/>
      <dgm:spPr/>
    </dgm:pt>
    <dgm:pt modelId="{8F46946B-629E-4BB3-AE79-833D146CD96F}" type="pres">
      <dgm:prSet presAssocID="{D722B236-29C7-41B6-83DE-E0371B2F5575}" presName="hierChild5" presStyleCnt="0"/>
      <dgm:spPr/>
    </dgm:pt>
    <dgm:pt modelId="{913130BA-7A0F-48F2-9A65-10DD08943137}" type="pres">
      <dgm:prSet presAssocID="{02B9D0B1-10F3-4A5A-86EC-3655FF1448AF}" presName="hierChild5" presStyleCnt="0"/>
      <dgm:spPr/>
    </dgm:pt>
    <dgm:pt modelId="{F5F3754E-D186-451F-A3D0-E48822ADAA05}" type="pres">
      <dgm:prSet presAssocID="{72C27403-A146-40B8-A12F-DC14926E0B79}" presName="hierChild3" presStyleCnt="0"/>
      <dgm:spPr/>
    </dgm:pt>
  </dgm:ptLst>
  <dgm:cxnLst>
    <dgm:cxn modelId="{DD178B04-F173-4EEE-A2A9-45B8C61C0065}" type="presOf" srcId="{B23B86F7-18B7-4BAD-8965-B43C66B871E7}" destId="{51A6DA82-597C-486C-9B2A-8B77FB118BD6}" srcOrd="0" destOrd="0" presId="urn:microsoft.com/office/officeart/2005/8/layout/orgChart1"/>
    <dgm:cxn modelId="{E173B30A-E882-4144-9C96-373EA0A08A57}" srcId="{02B9D0B1-10F3-4A5A-86EC-3655FF1448AF}" destId="{D722B236-29C7-41B6-83DE-E0371B2F5575}" srcOrd="1" destOrd="0" parTransId="{52D862E3-E0F4-40A3-92EA-1D9EB59C2EA6}" sibTransId="{59662A00-7962-457C-9BD3-DF2202518DA5}"/>
    <dgm:cxn modelId="{8C48AC0C-73AB-488F-A1FF-4CA4F918D1FE}" type="presOf" srcId="{75C2F57B-5750-4B6A-A326-DDE3F313EA14}" destId="{92389A04-75E2-49EF-B186-D17B3BF3F6AC}" srcOrd="0" destOrd="0" presId="urn:microsoft.com/office/officeart/2005/8/layout/orgChart1"/>
    <dgm:cxn modelId="{4D09070D-DE2C-4807-AB3F-D214A61F4BCB}" type="presOf" srcId="{DB67427C-D6F8-467A-AD38-4C738C7936BE}" destId="{A758D782-D509-47BD-B1B9-30C35299CAFA}" srcOrd="0" destOrd="0" presId="urn:microsoft.com/office/officeart/2005/8/layout/orgChart1"/>
    <dgm:cxn modelId="{268FA20D-1A51-4EEE-91A3-5B5BEDAFAB74}" type="presOf" srcId="{F7473160-6401-4249-9EBD-E80E33F705AA}" destId="{64A5788C-C4D3-4252-B0F0-BA93CE75C7C6}" srcOrd="0" destOrd="0" presId="urn:microsoft.com/office/officeart/2005/8/layout/orgChart1"/>
    <dgm:cxn modelId="{7BBBFE0D-B28D-48B3-84F0-6F61DDF3AA5B}" type="presOf" srcId="{02B9D0B1-10F3-4A5A-86EC-3655FF1448AF}" destId="{595855D8-AC55-49E2-8E9D-9AF1D15CA087}" srcOrd="1" destOrd="0" presId="urn:microsoft.com/office/officeart/2005/8/layout/orgChart1"/>
    <dgm:cxn modelId="{84B08C10-A959-44CE-B564-B1184E9453DF}" type="presOf" srcId="{82351CB1-8020-47E0-920E-C4C8CBE9A277}" destId="{89D34678-321F-4032-8782-05F3670A4323}" srcOrd="0" destOrd="0" presId="urn:microsoft.com/office/officeart/2005/8/layout/orgChart1"/>
    <dgm:cxn modelId="{B24EE611-5347-468F-8FC0-3008E283A983}" srcId="{E5EC303F-1138-4680-BC3F-CA3FA76B92D4}" destId="{E0E46185-6776-43F6-A618-B155CAF0B76B}" srcOrd="2" destOrd="0" parTransId="{249E0112-6ED6-4685-9D67-47AE6E5D7050}" sibTransId="{D0066A0B-4ACB-4E96-A1C4-E788F760583C}"/>
    <dgm:cxn modelId="{98A8BC12-183A-44A0-8BD9-0218FCBCA25B}" type="presOf" srcId="{6C725C6E-A80C-412A-AFCC-99B8F04D5D52}" destId="{FF1380C8-1088-4831-9DFA-B414C9770794}" srcOrd="0" destOrd="0" presId="urn:microsoft.com/office/officeart/2005/8/layout/orgChart1"/>
    <dgm:cxn modelId="{0660DC14-A6D2-46B6-B112-DB65FF89D93C}" type="presOf" srcId="{726E85A0-8986-401C-A322-099978380449}" destId="{BC700996-9386-40C0-9D31-EF1E76489161}" srcOrd="0" destOrd="0" presId="urn:microsoft.com/office/officeart/2005/8/layout/orgChart1"/>
    <dgm:cxn modelId="{0375AA16-9E01-4EE1-A924-64758BC840DE}" srcId="{05998DBC-F4CE-4B78-989A-770EE0B23958}" destId="{FAE87998-2D1B-44B2-8407-390208CDDE81}" srcOrd="2" destOrd="0" parTransId="{E5EA6048-7DC1-47C9-B5FB-9B646133740B}" sibTransId="{A5776558-B6E0-4862-9A43-F32F4BF99C48}"/>
    <dgm:cxn modelId="{D41C1217-A9E0-4948-B06C-A32DBED26E45}" srcId="{75C2F57B-5750-4B6A-A326-DDE3F313EA14}" destId="{72C27403-A146-40B8-A12F-DC14926E0B79}" srcOrd="0" destOrd="0" parTransId="{B2664321-79E9-4A86-8D29-35425E16C5AA}" sibTransId="{3EE56838-98D5-43C7-BC52-46FE9D689CAB}"/>
    <dgm:cxn modelId="{6BEEC519-3668-43C9-998A-A1DE0E16AF08}" type="presOf" srcId="{6B180080-FC16-4518-9576-942BA4F66AF6}" destId="{69BB326F-E6DD-4078-A287-FC786B05584C}" srcOrd="0" destOrd="0" presId="urn:microsoft.com/office/officeart/2005/8/layout/orgChart1"/>
    <dgm:cxn modelId="{8F7B391D-0A40-4701-A362-56AA900E018A}" type="presOf" srcId="{72E6590A-2DF1-4790-AD6B-14C26B56FFFA}" destId="{A0841858-614A-4DB1-8CD2-8A429DAEDDC4}" srcOrd="0" destOrd="0" presId="urn:microsoft.com/office/officeart/2005/8/layout/orgChart1"/>
    <dgm:cxn modelId="{5D928F1E-A72D-4254-A735-BE42A06A40AA}" type="presOf" srcId="{5E2EEC87-B495-4FBA-8770-88C48BBB809F}" destId="{1E735175-0A4B-40FA-A7FA-F97EAE542F93}" srcOrd="0" destOrd="0" presId="urn:microsoft.com/office/officeart/2005/8/layout/orgChart1"/>
    <dgm:cxn modelId="{2FFDC91F-63A9-4D20-B94B-4711B0F031BE}" type="presOf" srcId="{4B7CBD37-45C2-4DF7-A0A1-B68F8E7340DB}" destId="{A4584041-0123-452B-BD72-06270EE6AF45}" srcOrd="1" destOrd="0" presId="urn:microsoft.com/office/officeart/2005/8/layout/orgChart1"/>
    <dgm:cxn modelId="{327DDB1F-5DD2-4874-B9F1-5229115AE70B}" srcId="{C1E3DA06-226B-42D0-A959-F2A5C9206D19}" destId="{14B02E31-D097-466C-9AFE-EDE19E96DB55}" srcOrd="0" destOrd="0" parTransId="{B515B60E-B556-4EC3-8BDA-C4CBD086FC94}" sibTransId="{D7415AB3-DC07-46A5-9850-5A8B1221F3AE}"/>
    <dgm:cxn modelId="{D9868020-F48D-46E9-988C-54A3D5CDF825}" type="presOf" srcId="{ED40AC36-A781-415B-9891-6C14DE7D74F2}" destId="{C4650E12-3CE6-4296-988C-CC7B48C1D387}" srcOrd="0" destOrd="0" presId="urn:microsoft.com/office/officeart/2005/8/layout/orgChart1"/>
    <dgm:cxn modelId="{A39EBB23-CB97-4488-A081-CB596E7E2A4D}" srcId="{A64E2D5F-C43C-4747-ACF7-F82AD0BEBE55}" destId="{F7473160-6401-4249-9EBD-E80E33F705AA}" srcOrd="3" destOrd="0" parTransId="{49D6BAE6-302F-4E58-9979-F1E5AB1CF744}" sibTransId="{DAC4BA11-AE1A-4343-9496-2D60AA10B29B}"/>
    <dgm:cxn modelId="{36FA4124-2A22-44F9-8551-ED9E2A47A4F9}" type="presOf" srcId="{E57B87A0-5E8B-4FB9-9E1A-EC4EB1068CCA}" destId="{6DF20CA2-E412-4614-92C7-00BB58B6982D}" srcOrd="1" destOrd="0" presId="urn:microsoft.com/office/officeart/2005/8/layout/orgChart1"/>
    <dgm:cxn modelId="{7E49EC25-3D53-49C0-8B50-0075A8D4E76D}" type="presOf" srcId="{4B7CBD37-45C2-4DF7-A0A1-B68F8E7340DB}" destId="{FC073F40-053F-4175-91BD-835719CC23F7}" srcOrd="0" destOrd="0" presId="urn:microsoft.com/office/officeart/2005/8/layout/orgChart1"/>
    <dgm:cxn modelId="{04527828-29AC-4B0F-BAC6-A4D60B3A97C1}" type="presOf" srcId="{6D1100EC-6D1C-42B6-828D-5C282262EB3D}" destId="{60841EC8-F190-4F0D-93CE-A12D1A931B19}" srcOrd="1" destOrd="0" presId="urn:microsoft.com/office/officeart/2005/8/layout/orgChart1"/>
    <dgm:cxn modelId="{18193929-9593-49E0-A3ED-7AF54E5EBAC6}" type="presOf" srcId="{14B02E31-D097-466C-9AFE-EDE19E96DB55}" destId="{69C47226-9365-4663-8846-C4FC7BD7AAC2}" srcOrd="1" destOrd="0" presId="urn:microsoft.com/office/officeart/2005/8/layout/orgChart1"/>
    <dgm:cxn modelId="{E5273F2A-EA5A-49CC-B604-C0A2A27ED202}" srcId="{72C27403-A146-40B8-A12F-DC14926E0B79}" destId="{02B9D0B1-10F3-4A5A-86EC-3655FF1448AF}" srcOrd="7" destOrd="0" parTransId="{24F2D21D-FF47-4747-9182-92CAC3C1666E}" sibTransId="{A7F18DAE-70AB-43A2-AD76-65697035243A}"/>
    <dgm:cxn modelId="{FCE9592C-BDF9-46CC-BCD2-4D6DFDACCCEF}" type="presOf" srcId="{17FAD9F0-769D-42EB-9F24-4DE9DA7E861F}" destId="{8FA9B796-832C-4172-90B7-8EE9CFC409C6}" srcOrd="0" destOrd="0" presId="urn:microsoft.com/office/officeart/2005/8/layout/orgChart1"/>
    <dgm:cxn modelId="{E441C12D-E62D-492E-B5A7-45E007C7B156}" type="presOf" srcId="{6D1100EC-6D1C-42B6-828D-5C282262EB3D}" destId="{B6C28424-A23B-4F8F-A481-FAA585EFEEEE}" srcOrd="0" destOrd="0" presId="urn:microsoft.com/office/officeart/2005/8/layout/orgChart1"/>
    <dgm:cxn modelId="{E7D61E33-A1D8-4DC3-9703-AB1EA80BA890}" type="presOf" srcId="{B249360D-361A-4AFE-9882-2B1325C63737}" destId="{7A90AB04-4DCF-4529-B13F-58DFE8D49EE3}" srcOrd="0" destOrd="0" presId="urn:microsoft.com/office/officeart/2005/8/layout/orgChart1"/>
    <dgm:cxn modelId="{29D5F133-FA80-4A84-9AFE-C404073B3777}" type="presOf" srcId="{20EF055C-C00E-41A3-AF69-460591FAD166}" destId="{A0CB5D5C-CBEF-4A80-BCAA-4DB25A43762B}" srcOrd="0" destOrd="0" presId="urn:microsoft.com/office/officeart/2005/8/layout/orgChart1"/>
    <dgm:cxn modelId="{BDE7F534-4155-4316-BC93-A98C3EB4A4AC}" type="presOf" srcId="{89CE6858-532E-4B77-A289-940C77D78C12}" destId="{4C4CF14B-6A48-4C80-AB67-00F3ABF9110C}" srcOrd="1" destOrd="0" presId="urn:microsoft.com/office/officeart/2005/8/layout/orgChart1"/>
    <dgm:cxn modelId="{1447F936-CEB0-4953-AC40-1365D82E43B6}" srcId="{E5EC303F-1138-4680-BC3F-CA3FA76B92D4}" destId="{1196B74F-9EC9-4954-BDB0-994983939F08}" srcOrd="1" destOrd="0" parTransId="{31C02FE0-114F-434B-B7BD-71F2AE6FEE6A}" sibTransId="{BDD01B11-E7E4-40AA-947E-F8D9055EAC73}"/>
    <dgm:cxn modelId="{E0B88639-DD99-4671-A4B9-25BB931BAD2A}" type="presOf" srcId="{773B7B88-152B-414C-8219-EAA526FBC88A}" destId="{20C390CF-4A88-431B-88EB-92D18FB0548E}" srcOrd="0" destOrd="0" presId="urn:microsoft.com/office/officeart/2005/8/layout/orgChart1"/>
    <dgm:cxn modelId="{1464293A-2A31-46CC-B513-740F2B6CE56C}" type="presOf" srcId="{1BAD0339-BDBC-4854-BE37-643EB62AD91D}" destId="{9004CD8F-521F-48BB-B1A8-4751D7BC4C81}" srcOrd="0" destOrd="0" presId="urn:microsoft.com/office/officeart/2005/8/layout/orgChart1"/>
    <dgm:cxn modelId="{8B494E3B-6401-4616-9394-CD191F18C4BB}" type="presOf" srcId="{2ED00F50-D9E5-4B10-9D58-3442A1DD1C64}" destId="{9856E079-BCC5-4759-9903-B1303809D0CE}" srcOrd="1" destOrd="0" presId="urn:microsoft.com/office/officeart/2005/8/layout/orgChart1"/>
    <dgm:cxn modelId="{7D3D233C-4D4F-4861-AC95-5D61942C54CA}" type="presOf" srcId="{FF294872-3124-4D2C-AF62-A50F79E37314}" destId="{8E80FB71-C7F6-44BB-8E7A-4B59107E55C8}" srcOrd="1" destOrd="0" presId="urn:microsoft.com/office/officeart/2005/8/layout/orgChart1"/>
    <dgm:cxn modelId="{FCFFCF3E-778E-4F3E-B424-487D6BEF537B}" type="presOf" srcId="{2ED00F50-D9E5-4B10-9D58-3442A1DD1C64}" destId="{9D942C81-A525-4527-ADCD-1B43C76738D2}" srcOrd="0" destOrd="0" presId="urn:microsoft.com/office/officeart/2005/8/layout/orgChart1"/>
    <dgm:cxn modelId="{0B72D03F-B453-442D-826D-806801B6315C}" srcId="{A64E2D5F-C43C-4747-ACF7-F82AD0BEBE55}" destId="{0196A6F6-816C-471E-AB20-E45792B4C6D1}" srcOrd="1" destOrd="0" parTransId="{2BB967EC-A49C-447A-9F6A-D3CBBB34A6E5}" sibTransId="{2C4B0126-0289-419A-9EB4-C61800D08DA1}"/>
    <dgm:cxn modelId="{A916AD5B-FC85-4F37-9DC5-E5CCE3D040BD}" type="presOf" srcId="{F8F19FC5-74B5-4E69-900C-398AD45DA390}" destId="{BAEBAB07-6AF1-4C1A-9E1D-729D305F15F4}" srcOrd="0" destOrd="0" presId="urn:microsoft.com/office/officeart/2005/8/layout/orgChart1"/>
    <dgm:cxn modelId="{D26DEF5F-D9D6-4ECF-B322-705FB02AED2F}" srcId="{DC8E3BB6-FB8F-4305-A9C2-8E888403E969}" destId="{DB67427C-D6F8-467A-AD38-4C738C7936BE}" srcOrd="0" destOrd="0" parTransId="{0712D797-13DD-4638-B950-18DD83B15203}" sibTransId="{4EBF56BF-5AAF-4D57-A385-8D35222891D0}"/>
    <dgm:cxn modelId="{54E69261-B6F7-43EA-A574-DF4942F8B8B9}" srcId="{DC8E3BB6-FB8F-4305-A9C2-8E888403E969}" destId="{FF294872-3124-4D2C-AF62-A50F79E37314}" srcOrd="2" destOrd="0" parTransId="{6927CE39-BA77-4AC6-BF06-6FC507BAD02A}" sibTransId="{65399FE5-5DCA-449F-BB1C-B9C4EC202458}"/>
    <dgm:cxn modelId="{C797E842-531E-4611-AE25-86C8C3F3487E}" type="presOf" srcId="{F84C515C-E2DF-4995-A62A-F945878508F9}" destId="{A8053DE9-6C26-48A8-AB69-73C27B19024C}" srcOrd="1" destOrd="0" presId="urn:microsoft.com/office/officeart/2005/8/layout/orgChart1"/>
    <dgm:cxn modelId="{A910A043-66E2-45FE-93BF-0D6A2591BDFA}" type="presOf" srcId="{A64E2D5F-C43C-4747-ACF7-F82AD0BEBE55}" destId="{DE8C2C0A-505A-4D37-A80B-5982F99E6A08}" srcOrd="0" destOrd="0" presId="urn:microsoft.com/office/officeart/2005/8/layout/orgChart1"/>
    <dgm:cxn modelId="{DD433F64-E920-4E7C-8D21-33D5EBA30D0E}" type="presOf" srcId="{84C00AD6-E601-4633-9041-01B87BA99E83}" destId="{458954D6-E8CA-480B-B779-A3C1CF0282E9}" srcOrd="0" destOrd="0" presId="urn:microsoft.com/office/officeart/2005/8/layout/orgChart1"/>
    <dgm:cxn modelId="{82C69C44-537F-4579-A30D-762254251E1B}" srcId="{C1E3DA06-226B-42D0-A959-F2A5C9206D19}" destId="{106FC939-E920-479E-81B2-CC93319A1582}" srcOrd="4" destOrd="0" parTransId="{773B7B88-152B-414C-8219-EAA526FBC88A}" sibTransId="{C1812CF6-1F27-406A-AF49-1EBEF6D5729B}"/>
    <dgm:cxn modelId="{258BFC64-956B-4F39-ACB1-E632E3A46F93}" type="presOf" srcId="{6927CE39-BA77-4AC6-BF06-6FC507BAD02A}" destId="{D06DBD90-25E5-4A43-BFF7-0A0CD2B4BA7D}" srcOrd="0" destOrd="0" presId="urn:microsoft.com/office/officeart/2005/8/layout/orgChart1"/>
    <dgm:cxn modelId="{A11C0F65-91BE-4E02-9D50-C27F1FBB61F9}" type="presOf" srcId="{ED27F5D7-8728-4C73-9048-C123C87360BE}" destId="{6CB065FB-EC73-4365-A1E6-F84A2D8A75FE}" srcOrd="0" destOrd="0" presId="urn:microsoft.com/office/officeart/2005/8/layout/orgChart1"/>
    <dgm:cxn modelId="{B0376265-4F20-410B-B1A7-C188984859F6}" type="presOf" srcId="{1196B74F-9EC9-4954-BDB0-994983939F08}" destId="{7625DEBB-E5DE-46CF-8847-51930CD4B68F}" srcOrd="0" destOrd="0" presId="urn:microsoft.com/office/officeart/2005/8/layout/orgChart1"/>
    <dgm:cxn modelId="{A3618845-BAEA-4ED0-B026-3E98C9546A0C}" srcId="{72C27403-A146-40B8-A12F-DC14926E0B79}" destId="{A64E2D5F-C43C-4747-ACF7-F82AD0BEBE55}" srcOrd="5" destOrd="0" parTransId="{7113C5A8-B88E-4E3A-9BEA-9B2A8145AC06}" sibTransId="{8429B566-75E9-4D8F-81FF-6AB548D10070}"/>
    <dgm:cxn modelId="{FCF2B465-82F2-4B6A-8A2B-7DC9833211B2}" type="presOf" srcId="{77511F1D-8EF9-491B-BF10-301FB6800E8D}" destId="{CD18A902-B0BA-47F7-A0C0-BB032A109A8D}" srcOrd="1" destOrd="0" presId="urn:microsoft.com/office/officeart/2005/8/layout/orgChart1"/>
    <dgm:cxn modelId="{4A7C3047-8D58-4E4E-911B-CDD376C043C5}" type="presOf" srcId="{0725E76D-0ACB-41A7-ABAD-30268AE344EF}" destId="{0E2F2A07-A3F8-4648-8AFA-C03E0A8E3F24}" srcOrd="0" destOrd="0" presId="urn:microsoft.com/office/officeart/2005/8/layout/orgChart1"/>
    <dgm:cxn modelId="{553F5667-A934-4F02-9944-B6557804BC08}" type="presOf" srcId="{8D566F71-C339-43C0-B127-AA3B5BBEEA81}" destId="{D648E467-D262-47AB-AD53-CE2783AA9F73}" srcOrd="1" destOrd="0" presId="urn:microsoft.com/office/officeart/2005/8/layout/orgChart1"/>
    <dgm:cxn modelId="{C4D89A47-7C83-43A6-96FA-09C3641D8809}" type="presOf" srcId="{A38FBAD2-2F31-4110-AD4F-ADD92701D6A4}" destId="{D0F2D0A0-4967-4D85-8D0C-97FAD74AF481}" srcOrd="0" destOrd="0" presId="urn:microsoft.com/office/officeart/2005/8/layout/orgChart1"/>
    <dgm:cxn modelId="{5AC57148-3602-40C7-8D2E-D988A0015194}" type="presOf" srcId="{1196B74F-9EC9-4954-BDB0-994983939F08}" destId="{1DAFB3BE-661C-4BCA-ADC7-B2B0DAA3B144}" srcOrd="1" destOrd="0" presId="urn:microsoft.com/office/officeart/2005/8/layout/orgChart1"/>
    <dgm:cxn modelId="{ED0EB368-2F98-444B-84D2-4C04158081DB}" type="presOf" srcId="{C5AAE4DD-8AA6-4DEA-BB41-AB647D820F04}" destId="{EB3DC70A-3B93-4B75-ACD0-2467878CC574}" srcOrd="0" destOrd="0" presId="urn:microsoft.com/office/officeart/2005/8/layout/orgChart1"/>
    <dgm:cxn modelId="{E91F7269-C688-44D9-8994-A84C10B25FE7}" type="presOf" srcId="{B23B86F7-18B7-4BAD-8965-B43C66B871E7}" destId="{2B1D98E7-46E1-444B-AD76-DD35957B80EA}" srcOrd="1" destOrd="0" presId="urn:microsoft.com/office/officeart/2005/8/layout/orgChart1"/>
    <dgm:cxn modelId="{67F9384B-B795-40EE-9F94-B2D1702A1CE0}" type="presOf" srcId="{2555A0DD-F735-4347-8429-0124C126FD9A}" destId="{3B93A72B-AC5A-4706-BB9F-3FCD63FF56B3}" srcOrd="0" destOrd="0" presId="urn:microsoft.com/office/officeart/2005/8/layout/orgChart1"/>
    <dgm:cxn modelId="{51802D4C-BC64-4C7B-812C-24EDB2EA1A6D}" type="presOf" srcId="{BF97D3AD-069B-4CD3-AB5A-E51ABBEB8A85}" destId="{307B3BDB-DEA8-45C9-9DAF-A7EE0CECB742}" srcOrd="0" destOrd="0" presId="urn:microsoft.com/office/officeart/2005/8/layout/orgChart1"/>
    <dgm:cxn modelId="{7B99284D-C197-4BC8-A0CE-152D27D926A5}" srcId="{05998DBC-F4CE-4B78-989A-770EE0B23958}" destId="{F84C515C-E2DF-4995-A62A-F945878508F9}" srcOrd="3" destOrd="0" parTransId="{5264ACD6-02A2-450B-8B79-0C5B11442345}" sibTransId="{A24B2B28-060E-490E-A1A5-8D9780917C14}"/>
    <dgm:cxn modelId="{1E61986D-9291-49C7-92CD-3320502138D3}" srcId="{1BAD0339-BDBC-4854-BE37-643EB62AD91D}" destId="{77511F1D-8EF9-491B-BF10-301FB6800E8D}" srcOrd="0" destOrd="0" parTransId="{07CD2C50-9631-426F-8CD9-8C3ED0F7150C}" sibTransId="{DE89A548-3628-4953-871B-C58A74935391}"/>
    <dgm:cxn modelId="{BBD09E6D-B5A0-4278-B95A-283D94CA852F}" srcId="{A64E2D5F-C43C-4747-ACF7-F82AD0BEBE55}" destId="{181F6BCB-F6A1-478B-B07A-ED279F58003B}" srcOrd="0" destOrd="0" parTransId="{82351CB1-8020-47E0-920E-C4C8CBE9A277}" sibTransId="{B149B3B0-32ED-4000-A23F-CDAC3DB97ACF}"/>
    <dgm:cxn modelId="{032E694E-4560-4EAC-BC83-DC7D7164BDCA}" type="presOf" srcId="{181F6BCB-F6A1-478B-B07A-ED279F58003B}" destId="{AF306531-2FB5-4E57-8024-BE557E5F9461}" srcOrd="1" destOrd="0" presId="urn:microsoft.com/office/officeart/2005/8/layout/orgChart1"/>
    <dgm:cxn modelId="{8018256F-D839-43FA-BA3A-D6CB3E16D7CF}" type="presOf" srcId="{C1E3DA06-226B-42D0-A959-F2A5C9206D19}" destId="{1D565A37-CF2F-4D08-84B9-531039161899}" srcOrd="0" destOrd="0" presId="urn:microsoft.com/office/officeart/2005/8/layout/orgChart1"/>
    <dgm:cxn modelId="{64798A70-FABB-49DF-8D57-68D228C2ED48}" type="presOf" srcId="{31C02FE0-114F-434B-B7BD-71F2AE6FEE6A}" destId="{64C7CDBA-D2F3-4375-B13E-20061C66663C}" srcOrd="0" destOrd="0" presId="urn:microsoft.com/office/officeart/2005/8/layout/orgChart1"/>
    <dgm:cxn modelId="{50D0ED50-D800-4748-9743-8D8875287243}" type="presOf" srcId="{7113C5A8-B88E-4E3A-9BEA-9B2A8145AC06}" destId="{4AD94EBF-A6EF-4223-B774-C462A5291518}" srcOrd="0" destOrd="0" presId="urn:microsoft.com/office/officeart/2005/8/layout/orgChart1"/>
    <dgm:cxn modelId="{89034D71-7EE6-41B4-9E4B-6C4F0A873DFE}" srcId="{72C27403-A146-40B8-A12F-DC14926E0B79}" destId="{05998DBC-F4CE-4B78-989A-770EE0B23958}" srcOrd="1" destOrd="0" parTransId="{8C2C0F75-AAA6-4464-BEAD-A60614248F60}" sibTransId="{BFC74A06-9D74-4372-8031-A6726114028F}"/>
    <dgm:cxn modelId="{4EAA4052-4A9E-40DD-8823-FD3ED7E98F76}" srcId="{05998DBC-F4CE-4B78-989A-770EE0B23958}" destId="{4B7CBD37-45C2-4DF7-A0A1-B68F8E7340DB}" srcOrd="0" destOrd="0" parTransId="{1EA2826F-8497-44E5-AD60-BEEAF4D6EAA4}" sibTransId="{BD5F5F05-4738-4A7C-B32E-198BD6405317}"/>
    <dgm:cxn modelId="{3BCD6253-1807-47EC-8042-5BC4D9860D95}" srcId="{A64E2D5F-C43C-4747-ACF7-F82AD0BEBE55}" destId="{6D1100EC-6D1C-42B6-828D-5C282262EB3D}" srcOrd="4" destOrd="0" parTransId="{BE5200FD-9E36-4B7E-9BB9-6B210721338D}" sibTransId="{BBB5F7E2-7843-4F36-95E8-E45DF0CDA17C}"/>
    <dgm:cxn modelId="{949B6473-095B-481B-9668-BD0316472E29}" srcId="{DC8E3BB6-FB8F-4305-A9C2-8E888403E969}" destId="{3F982FA0-5264-45C7-86B0-F764B0253E49}" srcOrd="1" destOrd="0" parTransId="{2555A0DD-F735-4347-8429-0124C126FD9A}" sibTransId="{8AF87CBA-7F46-45D6-A05A-5EF075E8AF36}"/>
    <dgm:cxn modelId="{39354755-AE5B-4C3E-9A83-B81A2EED53D5}" type="presOf" srcId="{24F2D21D-FF47-4747-9182-92CAC3C1666E}" destId="{067FE705-6597-4F85-BEB2-F59D21507658}" srcOrd="0" destOrd="0" presId="urn:microsoft.com/office/officeart/2005/8/layout/orgChart1"/>
    <dgm:cxn modelId="{BD3C7975-F73C-472B-B711-ACE58905F8B0}" type="presOf" srcId="{181F6BCB-F6A1-478B-B07A-ED279F58003B}" destId="{2DD2FBDE-3AE7-4A6D-AA0C-BDF01D5B4891}" srcOrd="0" destOrd="0" presId="urn:microsoft.com/office/officeart/2005/8/layout/orgChart1"/>
    <dgm:cxn modelId="{86EC8475-9372-42AA-AD93-0098258939BF}" type="presOf" srcId="{FAE87998-2D1B-44B2-8407-390208CDDE81}" destId="{2E2CE622-3F0C-4844-BE16-D142471598CA}" srcOrd="0" destOrd="0" presId="urn:microsoft.com/office/officeart/2005/8/layout/orgChart1"/>
    <dgm:cxn modelId="{896B8F75-76BD-42F3-A6BB-A97255E659EC}" type="presOf" srcId="{02B9D0B1-10F3-4A5A-86EC-3655FF1448AF}" destId="{B9369C0E-00F2-4637-AA0F-07D8AD5387D3}" srcOrd="0" destOrd="0" presId="urn:microsoft.com/office/officeart/2005/8/layout/orgChart1"/>
    <dgm:cxn modelId="{505DAD55-8E60-4223-944B-2DB677FD3449}" srcId="{C1E3DA06-226B-42D0-A959-F2A5C9206D19}" destId="{8C8C6045-B54E-41CA-8F77-4F8DA1F80EAF}" srcOrd="1" destOrd="0" parTransId="{B249360D-361A-4AFE-9882-2B1325C63737}" sibTransId="{380E4394-EE37-4713-BAFA-C7FD6179D673}"/>
    <dgm:cxn modelId="{BFD50356-F331-4BCF-B5FA-5EE836A750B8}" type="presOf" srcId="{DC8E3BB6-FB8F-4305-A9C2-8E888403E969}" destId="{1656141C-D8A8-4336-99AB-6C5F2F6DCEB4}" srcOrd="0" destOrd="0" presId="urn:microsoft.com/office/officeart/2005/8/layout/orgChart1"/>
    <dgm:cxn modelId="{176FAF56-74D1-46F2-BF9F-458C9D8A4971}" srcId="{1BAD0339-BDBC-4854-BE37-643EB62AD91D}" destId="{6B180080-FC16-4518-9576-942BA4F66AF6}" srcOrd="2" destOrd="0" parTransId="{A38FBAD2-2F31-4110-AD4F-ADD92701D6A4}" sibTransId="{284EEA33-02C2-4C54-A11D-13679F092C92}"/>
    <dgm:cxn modelId="{91BA1778-AEE0-4A4C-A22A-F3FB068F8287}" type="presOf" srcId="{6B180080-FC16-4518-9576-942BA4F66AF6}" destId="{E36E21B7-2582-41DA-9020-4F2B924D86C3}" srcOrd="1" destOrd="0" presId="urn:microsoft.com/office/officeart/2005/8/layout/orgChart1"/>
    <dgm:cxn modelId="{03DF4A5A-0C1F-4BAD-A577-06B080D48E24}" type="presOf" srcId="{E5EC303F-1138-4680-BC3F-CA3FA76B92D4}" destId="{BD5C1E64-D586-45E8-A603-C4E63DDC4D69}" srcOrd="1" destOrd="0" presId="urn:microsoft.com/office/officeart/2005/8/layout/orgChart1"/>
    <dgm:cxn modelId="{DC811681-AEC1-4025-8609-A97A0E6C23FD}" type="presOf" srcId="{8C2C0F75-AAA6-4464-BEAD-A60614248F60}" destId="{897EA848-DFC7-4AEE-A274-FC30FC261252}" srcOrd="0" destOrd="0" presId="urn:microsoft.com/office/officeart/2005/8/layout/orgChart1"/>
    <dgm:cxn modelId="{751DEA84-016E-441C-B3B2-6AE0C1D8DB5D}" type="presOf" srcId="{17FAD9F0-769D-42EB-9F24-4DE9DA7E861F}" destId="{C1363F70-7A75-403C-9260-B139825EF195}" srcOrd="1" destOrd="0" presId="urn:microsoft.com/office/officeart/2005/8/layout/orgChart1"/>
    <dgm:cxn modelId="{F9E87585-59DA-4D99-B82C-AB5C52FAC994}" type="presOf" srcId="{B515B60E-B556-4EC3-8BDA-C4CBD086FC94}" destId="{C5FE18FD-1D1A-496F-935E-C08D2E76A9CB}" srcOrd="0" destOrd="0" presId="urn:microsoft.com/office/officeart/2005/8/layout/orgChart1"/>
    <dgm:cxn modelId="{59C9D687-AA7E-41D1-A491-446DA89A5425}" type="presOf" srcId="{E0E46185-6776-43F6-A618-B155CAF0B76B}" destId="{4DAD716F-A49B-41B2-AA5E-2A3E362DE63D}" srcOrd="1" destOrd="0" presId="urn:microsoft.com/office/officeart/2005/8/layout/orgChart1"/>
    <dgm:cxn modelId="{3412F587-E6B5-48AE-A1AF-7F8B7D236DDD}" type="presOf" srcId="{E5EA6048-7DC1-47C9-B5FB-9B646133740B}" destId="{73861559-648B-4D9B-9A28-C9B21B484F49}" srcOrd="0" destOrd="0" presId="urn:microsoft.com/office/officeart/2005/8/layout/orgChart1"/>
    <dgm:cxn modelId="{20BDFC88-6B0E-48EE-BDE4-DB763B2B22B5}" type="presOf" srcId="{8C8C6045-B54E-41CA-8F77-4F8DA1F80EAF}" destId="{D1C7B55D-B26B-4348-98F3-1352E5907100}" srcOrd="0" destOrd="0" presId="urn:microsoft.com/office/officeart/2005/8/layout/orgChart1"/>
    <dgm:cxn modelId="{1A63728E-E72E-4939-AA1D-F8F4306D738D}" type="presOf" srcId="{BD33EAFB-685A-428B-AE9E-67B8914004AF}" destId="{1AE62F4A-F828-43CD-9443-CED4E6655247}" srcOrd="0" destOrd="0" presId="urn:microsoft.com/office/officeart/2005/8/layout/orgChart1"/>
    <dgm:cxn modelId="{CEFFB38E-C13C-4A28-83CC-7F11216216D7}" srcId="{B23B86F7-18B7-4BAD-8965-B43C66B871E7}" destId="{2ED00F50-D9E5-4B10-9D58-3442A1DD1C64}" srcOrd="1" destOrd="0" parTransId="{0725E76D-0ACB-41A7-ABAD-30268AE344EF}" sibTransId="{DA2ACBE6-DC6F-4C46-8816-E2D9B078E32F}"/>
    <dgm:cxn modelId="{654D798F-C729-4F69-BC7E-51DFC1DD2102}" type="presOf" srcId="{5716F039-2B1E-4093-B3D6-197181CC38FD}" destId="{32651543-92F3-429E-AE78-2D396D8FFEBF}" srcOrd="0" destOrd="0" presId="urn:microsoft.com/office/officeart/2005/8/layout/orgChart1"/>
    <dgm:cxn modelId="{CD073094-05E5-431B-B1FC-A2E40DA4097E}" type="presOf" srcId="{8C8C6045-B54E-41CA-8F77-4F8DA1F80EAF}" destId="{EEDECAF5-A883-4468-85AC-67711CFA2C3C}" srcOrd="1" destOrd="0" presId="urn:microsoft.com/office/officeart/2005/8/layout/orgChart1"/>
    <dgm:cxn modelId="{1C11BE96-505F-4CBA-A730-F05E0D726528}" type="presOf" srcId="{47B33EA5-7598-4255-9C08-0CC2B1936F83}" destId="{E50BB666-85D7-4866-8644-C03D215E7155}" srcOrd="1" destOrd="0" presId="urn:microsoft.com/office/officeart/2005/8/layout/orgChart1"/>
    <dgm:cxn modelId="{ACF70399-7268-4F34-B5B7-9A57BB662F0D}" type="presOf" srcId="{F9387571-4CB4-4925-9027-9675041274D1}" destId="{1C1776A7-C6C7-4A9E-A945-5567CF3E1CB5}" srcOrd="1" destOrd="0" presId="urn:microsoft.com/office/officeart/2005/8/layout/orgChart1"/>
    <dgm:cxn modelId="{66763199-BE13-4C3D-BEE0-6632059F8998}" type="presOf" srcId="{DC8E3BB6-FB8F-4305-A9C2-8E888403E969}" destId="{CD38476F-95EB-4DF7-8CAD-05315FD531C1}" srcOrd="1" destOrd="0" presId="urn:microsoft.com/office/officeart/2005/8/layout/orgChart1"/>
    <dgm:cxn modelId="{E307FB99-6D4F-4C57-8D98-017B2AE25A16}" type="presOf" srcId="{249E0112-6ED6-4685-9D67-47AE6E5D7050}" destId="{02B80E26-CC81-4B24-A567-B4119DC9ECCA}" srcOrd="0" destOrd="0" presId="urn:microsoft.com/office/officeart/2005/8/layout/orgChart1"/>
    <dgm:cxn modelId="{55182B9E-A8C3-4A8C-8707-20016B5A56C0}" type="presOf" srcId="{106FC939-E920-479E-81B2-CC93319A1582}" destId="{5C2EC291-DAE2-4262-A251-98C720A8B733}" srcOrd="1" destOrd="0" presId="urn:microsoft.com/office/officeart/2005/8/layout/orgChart1"/>
    <dgm:cxn modelId="{1D29E69E-2576-46B0-A2A3-A5E46FEC5554}" srcId="{B23B86F7-18B7-4BAD-8965-B43C66B871E7}" destId="{89CE6858-532E-4B77-A289-940C77D78C12}" srcOrd="2" destOrd="0" parTransId="{77B81E56-C106-493E-9898-234B462FC8C5}" sibTransId="{85423115-0A62-4B24-9F9A-3DF2817286C9}"/>
    <dgm:cxn modelId="{738293A3-186E-46AE-8C8D-838B6C34BD1C}" type="presOf" srcId="{7846CFA0-5FEE-4CC4-831F-D86729DEE370}" destId="{A8D1F87E-4B43-4032-ACF6-84CE548BA08E}" srcOrd="0" destOrd="0" presId="urn:microsoft.com/office/officeart/2005/8/layout/orgChart1"/>
    <dgm:cxn modelId="{2470AFA3-CAF3-443D-996C-3B6FD6031A19}" type="presOf" srcId="{2BB967EC-A49C-447A-9F6A-D3CBBB34A6E5}" destId="{4A672035-6A5A-43B5-908F-0F936B60DE9B}" srcOrd="0" destOrd="0" presId="urn:microsoft.com/office/officeart/2005/8/layout/orgChart1"/>
    <dgm:cxn modelId="{FBDAE4A4-0F24-4CA9-BD1E-E112191307BA}" type="presOf" srcId="{3F982FA0-5264-45C7-86B0-F764B0253E49}" destId="{741C9FAD-ECAF-4203-A382-166B8251EE0E}" srcOrd="1" destOrd="0" presId="urn:microsoft.com/office/officeart/2005/8/layout/orgChart1"/>
    <dgm:cxn modelId="{2D924DA5-3454-4D4E-96C7-C4144F62581E}" type="presOf" srcId="{89CE6858-532E-4B77-A289-940C77D78C12}" destId="{E7B8995E-4D34-412D-8D04-71AA9C1FB5CE}" srcOrd="0" destOrd="0" presId="urn:microsoft.com/office/officeart/2005/8/layout/orgChart1"/>
    <dgm:cxn modelId="{C6A475A6-9EA0-4D48-918D-F824CACF8FB9}" srcId="{72C27403-A146-40B8-A12F-DC14926E0B79}" destId="{B23B86F7-18B7-4BAD-8965-B43C66B871E7}" srcOrd="0" destOrd="0" parTransId="{ED40AC36-A781-415B-9891-6C14DE7D74F2}" sibTransId="{C5B7620E-EE52-4EEA-8F19-9C92AD883D9E}"/>
    <dgm:cxn modelId="{33AB83A7-04B1-4D6D-A656-99DB20C43937}" srcId="{72C27403-A146-40B8-A12F-DC14926E0B79}" destId="{C1E3DA06-226B-42D0-A959-F2A5C9206D19}" srcOrd="3" destOrd="0" parTransId="{C5AAE4DD-8AA6-4DEA-BB41-AB647D820F04}" sibTransId="{AA2C2D1F-5027-4552-A2A6-6AF4B292751D}"/>
    <dgm:cxn modelId="{0B44E4A7-2235-4CFD-BA7F-F0C14AD782D3}" type="presOf" srcId="{8F088758-D171-4F6A-B077-159CD42ACA2E}" destId="{8D6A9976-F539-40D1-A36C-D578D8E57B4B}" srcOrd="0" destOrd="0" presId="urn:microsoft.com/office/officeart/2005/8/layout/orgChart1"/>
    <dgm:cxn modelId="{364397A9-EE0D-43ED-AF83-223B5277C4F1}" type="presOf" srcId="{0712D797-13DD-4638-B950-18DD83B15203}" destId="{FE51077E-23A3-435E-A5F6-F8DF8EE18229}" srcOrd="0" destOrd="0" presId="urn:microsoft.com/office/officeart/2005/8/layout/orgChart1"/>
    <dgm:cxn modelId="{F14085AD-66B4-4CB5-8269-53791E58163A}" type="presOf" srcId="{5264ACD6-02A2-450B-8B79-0C5B11442345}" destId="{4DBC7B1E-2DA0-4B0E-B321-703872C99B03}" srcOrd="0" destOrd="0" presId="urn:microsoft.com/office/officeart/2005/8/layout/orgChart1"/>
    <dgm:cxn modelId="{56F779AE-455A-4C3C-B8B7-9B9D00D75ED7}" type="presOf" srcId="{0BA256EB-6C1A-404A-9822-552F48888EDD}" destId="{17642A7F-C60C-44D6-ABB9-1B18A75FEB90}" srcOrd="0" destOrd="0" presId="urn:microsoft.com/office/officeart/2005/8/layout/orgChart1"/>
    <dgm:cxn modelId="{F6A2A1B0-D564-4B94-85CD-1DEA5CEAFB35}" type="presOf" srcId="{47B33EA5-7598-4255-9C08-0CC2B1936F83}" destId="{2B7B6EF6-3917-4E5C-9F2B-F2B99FEEBD9F}" srcOrd="0" destOrd="0" presId="urn:microsoft.com/office/officeart/2005/8/layout/orgChart1"/>
    <dgm:cxn modelId="{5EF1FBB0-E032-4F5F-AD43-E901B9F8E230}" type="presOf" srcId="{1EA2826F-8497-44E5-AD60-BEEAF4D6EAA4}" destId="{8F3682D5-4F4D-4A6C-AC03-1A824FAF13EB}" srcOrd="0" destOrd="0" presId="urn:microsoft.com/office/officeart/2005/8/layout/orgChart1"/>
    <dgm:cxn modelId="{70A982B1-8654-46A3-A539-269BC7C78144}" srcId="{1BAD0339-BDBC-4854-BE37-643EB62AD91D}" destId="{0BA256EB-6C1A-404A-9822-552F48888EDD}" srcOrd="1" destOrd="0" parTransId="{ED27F5D7-8728-4C73-9048-C123C87360BE}" sibTransId="{AF59B65E-BE3B-4DF2-AE4F-1F6334E21565}"/>
    <dgm:cxn modelId="{5BC89FB3-FC8B-45F7-83DB-A53C09002D32}" type="presOf" srcId="{5716F039-2B1E-4093-B3D6-197181CC38FD}" destId="{39DF8E1A-2B61-4EB4-9807-31EB3AFD9E69}" srcOrd="1" destOrd="0" presId="urn:microsoft.com/office/officeart/2005/8/layout/orgChart1"/>
    <dgm:cxn modelId="{9771BEB5-5D88-4C0C-9712-7BD0848A3288}" type="presOf" srcId="{D722B236-29C7-41B6-83DE-E0371B2F5575}" destId="{7961D2D5-82BB-4BE6-B6A7-B0B8FE5BAF57}" srcOrd="1" destOrd="0" presId="urn:microsoft.com/office/officeart/2005/8/layout/orgChart1"/>
    <dgm:cxn modelId="{C60FCAB5-E1A9-46BA-BFEA-430C205BDC97}" type="presOf" srcId="{52D862E3-E0F4-40A3-92EA-1D9EB59C2EA6}" destId="{887A275A-D055-4A3D-9CE6-0D1640BC152B}" srcOrd="0" destOrd="0" presId="urn:microsoft.com/office/officeart/2005/8/layout/orgChart1"/>
    <dgm:cxn modelId="{43246ABC-E382-4983-8F43-C58FB6CA6F8B}" type="presOf" srcId="{E5EC303F-1138-4680-BC3F-CA3FA76B92D4}" destId="{AA80021D-763D-4AB2-BA4B-E41686055537}" srcOrd="0" destOrd="0" presId="urn:microsoft.com/office/officeart/2005/8/layout/orgChart1"/>
    <dgm:cxn modelId="{8D8A5DBD-604C-4015-A87A-B470F1DA3202}" type="presOf" srcId="{72C27403-A146-40B8-A12F-DC14926E0B79}" destId="{E95EBB54-BD0A-4C7A-8628-899DD8A1A5A1}" srcOrd="0" destOrd="0" presId="urn:microsoft.com/office/officeart/2005/8/layout/orgChart1"/>
    <dgm:cxn modelId="{6A088CC3-D132-40A2-B4C9-6DF944F53481}" type="presOf" srcId="{07CD2C50-9631-426F-8CD9-8C3ED0F7150C}" destId="{D3A60B08-7E6F-47C1-A168-C224FF6D7F07}" srcOrd="0" destOrd="0" presId="urn:microsoft.com/office/officeart/2005/8/layout/orgChart1"/>
    <dgm:cxn modelId="{F177DEC3-CDD8-4B56-A2B6-827DFD222EF1}" type="presOf" srcId="{F7473160-6401-4249-9EBD-E80E33F705AA}" destId="{CB79FF67-4356-49C0-A2D0-43E4F34C8871}" srcOrd="1" destOrd="0" presId="urn:microsoft.com/office/officeart/2005/8/layout/orgChart1"/>
    <dgm:cxn modelId="{979218C5-9FED-43A6-A555-66F3DC36F7E6}" srcId="{05998DBC-F4CE-4B78-989A-770EE0B23958}" destId="{5716F039-2B1E-4093-B3D6-197181CC38FD}" srcOrd="1" destOrd="0" parTransId="{0302F593-12A3-47E8-A6B0-AA8B30A26967}" sibTransId="{C2B8F725-2430-4879-AC50-3D0A3F831972}"/>
    <dgm:cxn modelId="{0CEBE8C5-D2A6-461D-9843-48EBCA615CE3}" type="presOf" srcId="{0302F593-12A3-47E8-A6B0-AA8B30A26967}" destId="{EFAC2CFE-79D7-44B5-8ECC-4892C6DDDC9C}" srcOrd="0" destOrd="0" presId="urn:microsoft.com/office/officeart/2005/8/layout/orgChart1"/>
    <dgm:cxn modelId="{D5CE5BC6-0A65-4CD4-8D85-A7960C10700B}" srcId="{72C27403-A146-40B8-A12F-DC14926E0B79}" destId="{E5EC303F-1138-4680-BC3F-CA3FA76B92D4}" srcOrd="4" destOrd="0" parTransId="{BF97D3AD-069B-4CD3-AB5A-E51ABBEB8A85}" sibTransId="{1116C206-7664-4673-AAF3-5F0F12E00563}"/>
    <dgm:cxn modelId="{51BB81C8-1992-4807-85FD-702214E8EC78}" type="presOf" srcId="{F84C515C-E2DF-4995-A62A-F945878508F9}" destId="{92F90DBF-2A64-47C2-8ED6-7D186F84E6E3}" srcOrd="0" destOrd="0" presId="urn:microsoft.com/office/officeart/2005/8/layout/orgChart1"/>
    <dgm:cxn modelId="{BBE0F7C8-DD6C-4EC1-93F7-5C330B1D64D2}" type="presOf" srcId="{3F982FA0-5264-45C7-86B0-F764B0253E49}" destId="{2868756B-7AC9-479C-A8AD-A774C0A7A7DA}" srcOrd="0" destOrd="0" presId="urn:microsoft.com/office/officeart/2005/8/layout/orgChart1"/>
    <dgm:cxn modelId="{6ED136CC-8B99-42AD-A847-7AC868BF4C39}" type="presOf" srcId="{49D6BAE6-302F-4E58-9979-F1E5AB1CF744}" destId="{69A2127D-7E73-4C2B-86C3-7BB8FDCCF216}" srcOrd="0" destOrd="0" presId="urn:microsoft.com/office/officeart/2005/8/layout/orgChart1"/>
    <dgm:cxn modelId="{B2134BCC-E23E-4250-8FF1-000451F1D4CC}" type="presOf" srcId="{0BA256EB-6C1A-404A-9822-552F48888EDD}" destId="{46F99FC4-A571-4DB1-927C-346FD23B395E}" srcOrd="1" destOrd="0" presId="urn:microsoft.com/office/officeart/2005/8/layout/orgChart1"/>
    <dgm:cxn modelId="{98AB4CCE-4DBB-41F2-AA1A-246005E51862}" type="presOf" srcId="{69ACE048-1DE8-495F-B5A8-1ED1978FE5A0}" destId="{7F9C4629-8A86-4F7C-A540-47D1A2BD1B1D}" srcOrd="1" destOrd="0" presId="urn:microsoft.com/office/officeart/2005/8/layout/orgChart1"/>
    <dgm:cxn modelId="{AB0750CE-F582-4966-9E30-05B1C2FB6E67}" type="presOf" srcId="{1BAD0339-BDBC-4854-BE37-643EB62AD91D}" destId="{E8C45A1D-CD2C-4BD0-88E3-5854304CD890}" srcOrd="1" destOrd="0" presId="urn:microsoft.com/office/officeart/2005/8/layout/orgChart1"/>
    <dgm:cxn modelId="{1F5736D1-DBCD-470A-AED4-B7787B0D2290}" type="presOf" srcId="{FAE87998-2D1B-44B2-8407-390208CDDE81}" destId="{0E4CC479-8147-4C6F-9144-EB8D0ED3693B}" srcOrd="1" destOrd="0" presId="urn:microsoft.com/office/officeart/2005/8/layout/orgChart1"/>
    <dgm:cxn modelId="{022674D1-2450-4805-82A7-5A07508CB969}" srcId="{A64E2D5F-C43C-4747-ACF7-F82AD0BEBE55}" destId="{8D566F71-C339-43C0-B127-AA3B5BBEEA81}" srcOrd="2" destOrd="0" parTransId="{FCB6C723-526A-4615-AF06-B57C072EE490}" sibTransId="{A292A115-62F7-4DB9-B49B-0748F9E078FA}"/>
    <dgm:cxn modelId="{D83A02D3-7004-41E1-A942-5E8D059B5ADC}" srcId="{72C27403-A146-40B8-A12F-DC14926E0B79}" destId="{DC8E3BB6-FB8F-4305-A9C2-8E888403E969}" srcOrd="2" destOrd="0" parTransId="{6C725C6E-A80C-412A-AFCC-99B8F04D5D52}" sibTransId="{EB57E93C-0E90-40B0-84F7-33B40341D8A8}"/>
    <dgm:cxn modelId="{C79F0ED3-C6AA-490C-ADD2-0E17624497D8}" type="presOf" srcId="{F9387571-4CB4-4925-9027-9675041274D1}" destId="{AB176A57-46AE-4B28-BE6A-0B0FDD71F3EA}" srcOrd="0" destOrd="0" presId="urn:microsoft.com/office/officeart/2005/8/layout/orgChart1"/>
    <dgm:cxn modelId="{4E1BF2D4-FE79-43CA-8CE3-71459C0F52F9}" type="presOf" srcId="{69ACE048-1DE8-495F-B5A8-1ED1978FE5A0}" destId="{B012D76E-3474-412C-9306-A45686A2EEE8}" srcOrd="0" destOrd="0" presId="urn:microsoft.com/office/officeart/2005/8/layout/orgChart1"/>
    <dgm:cxn modelId="{1FD038D6-C6C1-466C-B18B-BA8B0C768736}" type="presOf" srcId="{FCB6C723-526A-4615-AF06-B57C072EE490}" destId="{D65A79E5-239A-4D79-94CF-72FF452E0754}" srcOrd="0" destOrd="0" presId="urn:microsoft.com/office/officeart/2005/8/layout/orgChart1"/>
    <dgm:cxn modelId="{ED834BD6-F647-4F2F-B290-AC3A8F0339F1}" type="presOf" srcId="{7846CFA0-5FEE-4CC4-831F-D86729DEE370}" destId="{0A182B6F-B42A-423F-9493-8E2BC3E349C2}" srcOrd="1" destOrd="0" presId="urn:microsoft.com/office/officeart/2005/8/layout/orgChart1"/>
    <dgm:cxn modelId="{1AB253D6-BAC4-4322-A60D-98F60D485F09}" type="presOf" srcId="{14B02E31-D097-466C-9AFE-EDE19E96DB55}" destId="{0484552F-A9A0-4ABD-BAC6-D4921CDFD900}" srcOrd="0" destOrd="0" presId="urn:microsoft.com/office/officeart/2005/8/layout/orgChart1"/>
    <dgm:cxn modelId="{BBA159D9-24D7-4DCD-92C2-8D4966CAABAE}" srcId="{DC8E3BB6-FB8F-4305-A9C2-8E888403E969}" destId="{17FAD9F0-769D-42EB-9F24-4DE9DA7E861F}" srcOrd="4" destOrd="0" parTransId="{8F088758-D171-4F6A-B077-159CD42ACA2E}" sibTransId="{CB40D4CB-0A68-420C-B792-B5029A9404F5}"/>
    <dgm:cxn modelId="{48C201DA-811A-4037-AD85-781AF4E92506}" srcId="{02B9D0B1-10F3-4A5A-86EC-3655FF1448AF}" destId="{69ACE048-1DE8-495F-B5A8-1ED1978FE5A0}" srcOrd="0" destOrd="0" parTransId="{3B9D4EB4-4DDC-4AD4-9680-41034701E8E3}" sibTransId="{E870097B-B135-4B52-AE60-3511FD521460}"/>
    <dgm:cxn modelId="{64500CDA-D605-46A6-8576-2CF48135008E}" type="presOf" srcId="{77511F1D-8EF9-491B-BF10-301FB6800E8D}" destId="{F0059663-D3E6-4DE2-BC49-B080D7611536}" srcOrd="0" destOrd="0" presId="urn:microsoft.com/office/officeart/2005/8/layout/orgChart1"/>
    <dgm:cxn modelId="{4D9712DB-84D9-4CE3-B193-948B3074E8D1}" type="presOf" srcId="{0196A6F6-816C-471E-AB20-E45792B4C6D1}" destId="{30B11FE5-725A-47D5-97FC-705BF2685466}" srcOrd="0" destOrd="0" presId="urn:microsoft.com/office/officeart/2005/8/layout/orgChart1"/>
    <dgm:cxn modelId="{790CEDDC-A2DD-4965-8625-8D5999FB1D26}" type="presOf" srcId="{8D566F71-C339-43C0-B127-AA3B5BBEEA81}" destId="{F7B96D91-0A06-4569-8DA1-0DD58E41320D}" srcOrd="0" destOrd="0" presId="urn:microsoft.com/office/officeart/2005/8/layout/orgChart1"/>
    <dgm:cxn modelId="{4E2549DD-65B6-4BD4-8272-E1268B65BC61}" srcId="{72C27403-A146-40B8-A12F-DC14926E0B79}" destId="{1BAD0339-BDBC-4854-BE37-643EB62AD91D}" srcOrd="6" destOrd="0" parTransId="{BD33EAFB-685A-428B-AE9E-67B8914004AF}" sibTransId="{74013E77-52AD-4B5E-89EA-43E53262A615}"/>
    <dgm:cxn modelId="{D53A05E7-873E-4B81-8447-71C191272FD7}" type="presOf" srcId="{FF294872-3124-4D2C-AF62-A50F79E37314}" destId="{B4CD171E-6BF2-408C-80AF-2CE0FD40BEDC}" srcOrd="0" destOrd="0" presId="urn:microsoft.com/office/officeart/2005/8/layout/orgChart1"/>
    <dgm:cxn modelId="{81373FE8-8B54-4A4F-B473-15E31BDACE04}" type="presOf" srcId="{05998DBC-F4CE-4B78-989A-770EE0B23958}" destId="{0079FDB8-F151-4C60-9D27-DD5C48838872}" srcOrd="0" destOrd="0" presId="urn:microsoft.com/office/officeart/2005/8/layout/orgChart1"/>
    <dgm:cxn modelId="{8C594DE9-47BB-4A47-8537-D59537E4A610}" srcId="{C1E3DA06-226B-42D0-A959-F2A5C9206D19}" destId="{F9387571-4CB4-4925-9027-9675041274D1}" srcOrd="3" destOrd="0" parTransId="{72E6590A-2DF1-4790-AD6B-14C26B56FFFA}" sibTransId="{9C067768-C447-4E7D-9FF8-FDF0A95699F9}"/>
    <dgm:cxn modelId="{1A193AEA-BD17-40B1-A98A-8126ED068666}" type="presOf" srcId="{D722B236-29C7-41B6-83DE-E0371B2F5575}" destId="{6C9C5A7D-D53A-4B37-BDDE-04CB780779ED}" srcOrd="0" destOrd="0" presId="urn:microsoft.com/office/officeart/2005/8/layout/orgChart1"/>
    <dgm:cxn modelId="{8D7880EA-0DA1-4B19-9F00-00AF5A9D51A1}" type="presOf" srcId="{3B9D4EB4-4DDC-4AD4-9680-41034701E8E3}" destId="{B7732A07-5B57-42A0-BDD2-677EE8942A38}" srcOrd="0" destOrd="0" presId="urn:microsoft.com/office/officeart/2005/8/layout/orgChart1"/>
    <dgm:cxn modelId="{FBD397EC-214F-4118-938F-59E1FCB9EDFD}" type="presOf" srcId="{C1E3DA06-226B-42D0-A959-F2A5C9206D19}" destId="{4B151B24-3C22-4628-8E36-510AA448C12E}" srcOrd="1" destOrd="0" presId="urn:microsoft.com/office/officeart/2005/8/layout/orgChart1"/>
    <dgm:cxn modelId="{3DCC71EE-3692-4200-B8FF-3C6713505BE2}" type="presOf" srcId="{E0E46185-6776-43F6-A618-B155CAF0B76B}" destId="{B02920AB-A51C-49AD-B671-94EF108A5FF0}" srcOrd="0" destOrd="0" presId="urn:microsoft.com/office/officeart/2005/8/layout/orgChart1"/>
    <dgm:cxn modelId="{689034EF-890D-4259-9098-AA41631B31E8}" type="presOf" srcId="{77B81E56-C106-493E-9898-234B462FC8C5}" destId="{A377192A-0A38-4CD7-BBE7-6D0E1B8A9DF4}" srcOrd="0" destOrd="0" presId="urn:microsoft.com/office/officeart/2005/8/layout/orgChart1"/>
    <dgm:cxn modelId="{8D598BF0-FFFA-4989-A4A9-2B345F5F23B3}" type="presOf" srcId="{BE5200FD-9E36-4B7E-9BB9-6B210721338D}" destId="{A023D21B-16FB-4076-891C-C75C13B4AC10}" srcOrd="0" destOrd="0" presId="urn:microsoft.com/office/officeart/2005/8/layout/orgChart1"/>
    <dgm:cxn modelId="{E71706F2-5106-4E18-9356-7BBBDFE773DA}" type="presOf" srcId="{DB67427C-D6F8-467A-AD38-4C738C7936BE}" destId="{E8B2EA3E-C6A1-435B-9559-5CFBD40D9688}" srcOrd="1" destOrd="0" presId="urn:microsoft.com/office/officeart/2005/8/layout/orgChart1"/>
    <dgm:cxn modelId="{69D0F8F2-89F4-46E2-88A3-550B3BABF403}" srcId="{DC8E3BB6-FB8F-4305-A9C2-8E888403E969}" destId="{7846CFA0-5FEE-4CC4-831F-D86729DEE370}" srcOrd="3" destOrd="0" parTransId="{F8F19FC5-74B5-4E69-900C-398AD45DA390}" sibTransId="{C0194770-F4C0-4B5E-A396-A8648D05063E}"/>
    <dgm:cxn modelId="{FD3239F5-F9E1-4C89-AFB8-1427094F8CF1}" type="presOf" srcId="{05998DBC-F4CE-4B78-989A-770EE0B23958}" destId="{C5E2EBC8-9835-4DCA-9D2D-AB3C00F193C6}" srcOrd="1" destOrd="0" presId="urn:microsoft.com/office/officeart/2005/8/layout/orgChart1"/>
    <dgm:cxn modelId="{7A5D37F6-804C-43E4-9870-565AFB102278}" srcId="{C1E3DA06-226B-42D0-A959-F2A5C9206D19}" destId="{47B33EA5-7598-4255-9C08-0CC2B1936F83}" srcOrd="2" destOrd="0" parTransId="{5E2EEC87-B495-4FBA-8770-88C48BBB809F}" sibTransId="{FC001C4E-1493-4256-AD94-FB5C2E3206B6}"/>
    <dgm:cxn modelId="{DE0722F9-6010-4A46-B727-DA436BA1D45A}" type="presOf" srcId="{0196A6F6-816C-471E-AB20-E45792B4C6D1}" destId="{5BCEEF4D-308C-4184-A16C-A1655F3AB993}" srcOrd="1" destOrd="0" presId="urn:microsoft.com/office/officeart/2005/8/layout/orgChart1"/>
    <dgm:cxn modelId="{53021FFA-1CA2-4810-8DBA-86742F5C6C23}" srcId="{E5EC303F-1138-4680-BC3F-CA3FA76B92D4}" destId="{E57B87A0-5E8B-4FB9-9E1A-EC4EB1068CCA}" srcOrd="0" destOrd="0" parTransId="{726E85A0-8986-401C-A322-099978380449}" sibTransId="{39DC8717-AC4B-4EA5-99E5-B6CE1F5986DA}"/>
    <dgm:cxn modelId="{B77312FC-7798-4F84-AC5F-AB4AA028A817}" type="presOf" srcId="{A64E2D5F-C43C-4747-ACF7-F82AD0BEBE55}" destId="{862E3047-03CE-4E2E-B728-96A1BED60C02}" srcOrd="1" destOrd="0" presId="urn:microsoft.com/office/officeart/2005/8/layout/orgChart1"/>
    <dgm:cxn modelId="{868509FE-499A-4A40-BE1A-586EFD8F6EC6}" type="presOf" srcId="{106FC939-E920-479E-81B2-CC93319A1582}" destId="{4CBBAABF-EAB4-4DAE-A39A-230AAAEA22F9}" srcOrd="0" destOrd="0" presId="urn:microsoft.com/office/officeart/2005/8/layout/orgChart1"/>
    <dgm:cxn modelId="{CCAA0FFF-C59B-4B83-9ECF-586F73334601}" srcId="{B23B86F7-18B7-4BAD-8965-B43C66B871E7}" destId="{84C00AD6-E601-4633-9041-01B87BA99E83}" srcOrd="0" destOrd="0" parTransId="{20EF055C-C00E-41A3-AF69-460591FAD166}" sibTransId="{9A45795B-0A41-437E-9328-505B4189DD13}"/>
    <dgm:cxn modelId="{43CF4FFF-C65A-4C51-B7B1-2FD514640704}" type="presOf" srcId="{E57B87A0-5E8B-4FB9-9E1A-EC4EB1068CCA}" destId="{CD8C5727-17E1-4C01-889D-1399E5F87BFF}" srcOrd="0" destOrd="0" presId="urn:microsoft.com/office/officeart/2005/8/layout/orgChart1"/>
    <dgm:cxn modelId="{255A9EFF-E516-484C-A5F3-632FC917A086}" type="presOf" srcId="{72C27403-A146-40B8-A12F-DC14926E0B79}" destId="{316F9CA7-8186-4E3B-8378-11E8BFAF851D}" srcOrd="1" destOrd="0" presId="urn:microsoft.com/office/officeart/2005/8/layout/orgChart1"/>
    <dgm:cxn modelId="{6377D9FF-7A5C-4AD4-9424-018729F3B973}" type="presOf" srcId="{84C00AD6-E601-4633-9041-01B87BA99E83}" destId="{3F001293-3435-42EF-A634-2A2308065B56}" srcOrd="1" destOrd="0" presId="urn:microsoft.com/office/officeart/2005/8/layout/orgChart1"/>
    <dgm:cxn modelId="{2D3ACE4E-3393-41B7-BDDF-A067EA21EDDF}" type="presParOf" srcId="{92389A04-75E2-49EF-B186-D17B3BF3F6AC}" destId="{113FCB6D-3CC1-4EC2-A3D7-F740C54EE986}" srcOrd="0" destOrd="0" presId="urn:microsoft.com/office/officeart/2005/8/layout/orgChart1"/>
    <dgm:cxn modelId="{9E2D0AB5-4F19-41AA-A147-68C2E89B6941}" type="presParOf" srcId="{113FCB6D-3CC1-4EC2-A3D7-F740C54EE986}" destId="{AAE79A74-AB7C-4368-B68E-B75DF389FC43}" srcOrd="0" destOrd="0" presId="urn:microsoft.com/office/officeart/2005/8/layout/orgChart1"/>
    <dgm:cxn modelId="{0FE16C2F-D553-44FB-8A31-B93EB00DE8BC}" type="presParOf" srcId="{AAE79A74-AB7C-4368-B68E-B75DF389FC43}" destId="{E95EBB54-BD0A-4C7A-8628-899DD8A1A5A1}" srcOrd="0" destOrd="0" presId="urn:microsoft.com/office/officeart/2005/8/layout/orgChart1"/>
    <dgm:cxn modelId="{E556C355-E542-4F2B-BC71-8837A0BA7E9E}" type="presParOf" srcId="{AAE79A74-AB7C-4368-B68E-B75DF389FC43}" destId="{316F9CA7-8186-4E3B-8378-11E8BFAF851D}" srcOrd="1" destOrd="0" presId="urn:microsoft.com/office/officeart/2005/8/layout/orgChart1"/>
    <dgm:cxn modelId="{E6FD6F54-B897-46B3-A33E-0946BF297598}" type="presParOf" srcId="{113FCB6D-3CC1-4EC2-A3D7-F740C54EE986}" destId="{B7701242-17D1-4310-93FB-498D5CB7EDCD}" srcOrd="1" destOrd="0" presId="urn:microsoft.com/office/officeart/2005/8/layout/orgChart1"/>
    <dgm:cxn modelId="{F3EC1C35-56FB-4014-BC1E-6C4EA1F15BF1}" type="presParOf" srcId="{B7701242-17D1-4310-93FB-498D5CB7EDCD}" destId="{C4650E12-3CE6-4296-988C-CC7B48C1D387}" srcOrd="0" destOrd="0" presId="urn:microsoft.com/office/officeart/2005/8/layout/orgChart1"/>
    <dgm:cxn modelId="{58416D64-D3E5-4B5F-BB6E-7A4D3C167E8C}" type="presParOf" srcId="{B7701242-17D1-4310-93FB-498D5CB7EDCD}" destId="{48EBF4F0-3250-45C9-8C88-D2E0E04AA15F}" srcOrd="1" destOrd="0" presId="urn:microsoft.com/office/officeart/2005/8/layout/orgChart1"/>
    <dgm:cxn modelId="{77BE92A2-5904-4DFE-BBC5-A262274D6E7E}" type="presParOf" srcId="{48EBF4F0-3250-45C9-8C88-D2E0E04AA15F}" destId="{E0A45776-E0CC-4122-8051-70525F42CC58}" srcOrd="0" destOrd="0" presId="urn:microsoft.com/office/officeart/2005/8/layout/orgChart1"/>
    <dgm:cxn modelId="{D3DABC5E-CC3B-4F38-A760-C405A94873FD}" type="presParOf" srcId="{E0A45776-E0CC-4122-8051-70525F42CC58}" destId="{51A6DA82-597C-486C-9B2A-8B77FB118BD6}" srcOrd="0" destOrd="0" presId="urn:microsoft.com/office/officeart/2005/8/layout/orgChart1"/>
    <dgm:cxn modelId="{C4978652-595D-469C-BFD3-1E6ED01BA5B0}" type="presParOf" srcId="{E0A45776-E0CC-4122-8051-70525F42CC58}" destId="{2B1D98E7-46E1-444B-AD76-DD35957B80EA}" srcOrd="1" destOrd="0" presId="urn:microsoft.com/office/officeart/2005/8/layout/orgChart1"/>
    <dgm:cxn modelId="{61CB145C-697A-4655-BC8A-6D51C885D59D}" type="presParOf" srcId="{48EBF4F0-3250-45C9-8C88-D2E0E04AA15F}" destId="{28B80584-2D7C-4FCE-BFF3-5B10BA8163E1}" srcOrd="1" destOrd="0" presId="urn:microsoft.com/office/officeart/2005/8/layout/orgChart1"/>
    <dgm:cxn modelId="{5DDA8C2D-6776-41A5-A083-1D7608358742}" type="presParOf" srcId="{28B80584-2D7C-4FCE-BFF3-5B10BA8163E1}" destId="{A0CB5D5C-CBEF-4A80-BCAA-4DB25A43762B}" srcOrd="0" destOrd="0" presId="urn:microsoft.com/office/officeart/2005/8/layout/orgChart1"/>
    <dgm:cxn modelId="{A11AF1C1-8482-41E1-9081-2EEA45D23FEF}" type="presParOf" srcId="{28B80584-2D7C-4FCE-BFF3-5B10BA8163E1}" destId="{6EBF85A3-B708-42C4-AE18-F14E0A43F484}" srcOrd="1" destOrd="0" presId="urn:microsoft.com/office/officeart/2005/8/layout/orgChart1"/>
    <dgm:cxn modelId="{EFBB1547-0EA7-4B09-A691-28F5C12F1B0D}" type="presParOf" srcId="{6EBF85A3-B708-42C4-AE18-F14E0A43F484}" destId="{AC534320-D7A4-4198-9DD4-822F7025AD8B}" srcOrd="0" destOrd="0" presId="urn:microsoft.com/office/officeart/2005/8/layout/orgChart1"/>
    <dgm:cxn modelId="{3C4E11AE-7F85-4C9A-BBA3-D66EDA2FC282}" type="presParOf" srcId="{AC534320-D7A4-4198-9DD4-822F7025AD8B}" destId="{458954D6-E8CA-480B-B779-A3C1CF0282E9}" srcOrd="0" destOrd="0" presId="urn:microsoft.com/office/officeart/2005/8/layout/orgChart1"/>
    <dgm:cxn modelId="{F56E0EAC-65C4-41D5-AA26-353AE577D4D0}" type="presParOf" srcId="{AC534320-D7A4-4198-9DD4-822F7025AD8B}" destId="{3F001293-3435-42EF-A634-2A2308065B56}" srcOrd="1" destOrd="0" presId="urn:microsoft.com/office/officeart/2005/8/layout/orgChart1"/>
    <dgm:cxn modelId="{F110E0DD-E688-4615-9705-4E06591DFD62}" type="presParOf" srcId="{6EBF85A3-B708-42C4-AE18-F14E0A43F484}" destId="{6259C6C5-2CD8-4A69-931B-7F6D594B38B8}" srcOrd="1" destOrd="0" presId="urn:microsoft.com/office/officeart/2005/8/layout/orgChart1"/>
    <dgm:cxn modelId="{F90BD165-74C1-4CA1-A312-26F571FC527D}" type="presParOf" srcId="{6EBF85A3-B708-42C4-AE18-F14E0A43F484}" destId="{B6BD4E80-0002-45D4-83B0-79A1C5901F30}" srcOrd="2" destOrd="0" presId="urn:microsoft.com/office/officeart/2005/8/layout/orgChart1"/>
    <dgm:cxn modelId="{907C274F-C741-4D49-8202-0E3DA87F8A6D}" type="presParOf" srcId="{28B80584-2D7C-4FCE-BFF3-5B10BA8163E1}" destId="{0E2F2A07-A3F8-4648-8AFA-C03E0A8E3F24}" srcOrd="2" destOrd="0" presId="urn:microsoft.com/office/officeart/2005/8/layout/orgChart1"/>
    <dgm:cxn modelId="{821BA948-71FF-4934-8ACD-8C9EFBF0718D}" type="presParOf" srcId="{28B80584-2D7C-4FCE-BFF3-5B10BA8163E1}" destId="{6D6B8408-B047-4D6D-AD9A-6C8E169EC3A2}" srcOrd="3" destOrd="0" presId="urn:microsoft.com/office/officeart/2005/8/layout/orgChart1"/>
    <dgm:cxn modelId="{105E4663-032B-4CEF-9C76-EFAB03F3F614}" type="presParOf" srcId="{6D6B8408-B047-4D6D-AD9A-6C8E169EC3A2}" destId="{42519641-9E3C-42FD-BCAD-D47A124FD52E}" srcOrd="0" destOrd="0" presId="urn:microsoft.com/office/officeart/2005/8/layout/orgChart1"/>
    <dgm:cxn modelId="{B989AB56-FF5E-4BBC-A779-E68C451F95DC}" type="presParOf" srcId="{42519641-9E3C-42FD-BCAD-D47A124FD52E}" destId="{9D942C81-A525-4527-ADCD-1B43C76738D2}" srcOrd="0" destOrd="0" presId="urn:microsoft.com/office/officeart/2005/8/layout/orgChart1"/>
    <dgm:cxn modelId="{3CD4BD15-8DB1-4D6A-8618-C0F5CC35FC17}" type="presParOf" srcId="{42519641-9E3C-42FD-BCAD-D47A124FD52E}" destId="{9856E079-BCC5-4759-9903-B1303809D0CE}" srcOrd="1" destOrd="0" presId="urn:microsoft.com/office/officeart/2005/8/layout/orgChart1"/>
    <dgm:cxn modelId="{63B9C729-20CD-4F31-9154-723B0EFE05D4}" type="presParOf" srcId="{6D6B8408-B047-4D6D-AD9A-6C8E169EC3A2}" destId="{538A98D1-9099-4E45-9E9B-2808CFB06867}" srcOrd="1" destOrd="0" presId="urn:microsoft.com/office/officeart/2005/8/layout/orgChart1"/>
    <dgm:cxn modelId="{48027F78-50BF-440C-A927-DF18297DADDE}" type="presParOf" srcId="{6D6B8408-B047-4D6D-AD9A-6C8E169EC3A2}" destId="{0826A261-23F5-47BC-8443-F3E620604C45}" srcOrd="2" destOrd="0" presId="urn:microsoft.com/office/officeart/2005/8/layout/orgChart1"/>
    <dgm:cxn modelId="{673C061F-ED42-42C2-A239-1F54B7BCA3E2}" type="presParOf" srcId="{28B80584-2D7C-4FCE-BFF3-5B10BA8163E1}" destId="{A377192A-0A38-4CD7-BBE7-6D0E1B8A9DF4}" srcOrd="4" destOrd="0" presId="urn:microsoft.com/office/officeart/2005/8/layout/orgChart1"/>
    <dgm:cxn modelId="{9C8E2787-ADA8-406A-8642-2A4CE41AF4D6}" type="presParOf" srcId="{28B80584-2D7C-4FCE-BFF3-5B10BA8163E1}" destId="{A85697D6-4785-4EEF-AAAC-482B77E84B9E}" srcOrd="5" destOrd="0" presId="urn:microsoft.com/office/officeart/2005/8/layout/orgChart1"/>
    <dgm:cxn modelId="{24BF2976-8B02-430A-B67E-327737662019}" type="presParOf" srcId="{A85697D6-4785-4EEF-AAAC-482B77E84B9E}" destId="{0B66A8E2-C05A-4F3F-82D0-259E0A7DB551}" srcOrd="0" destOrd="0" presId="urn:microsoft.com/office/officeart/2005/8/layout/orgChart1"/>
    <dgm:cxn modelId="{18739035-971C-4D9D-99A9-F659BCDD865E}" type="presParOf" srcId="{0B66A8E2-C05A-4F3F-82D0-259E0A7DB551}" destId="{E7B8995E-4D34-412D-8D04-71AA9C1FB5CE}" srcOrd="0" destOrd="0" presId="urn:microsoft.com/office/officeart/2005/8/layout/orgChart1"/>
    <dgm:cxn modelId="{F3EC9FA6-3710-428C-81CA-030257059B32}" type="presParOf" srcId="{0B66A8E2-C05A-4F3F-82D0-259E0A7DB551}" destId="{4C4CF14B-6A48-4C80-AB67-00F3ABF9110C}" srcOrd="1" destOrd="0" presId="urn:microsoft.com/office/officeart/2005/8/layout/orgChart1"/>
    <dgm:cxn modelId="{1B58D25B-D1BC-4336-BEC2-9C4CFFBA9014}" type="presParOf" srcId="{A85697D6-4785-4EEF-AAAC-482B77E84B9E}" destId="{DE53DF3E-EE42-422F-BB90-DABD3D9D1666}" srcOrd="1" destOrd="0" presId="urn:microsoft.com/office/officeart/2005/8/layout/orgChart1"/>
    <dgm:cxn modelId="{C99D76A0-B80D-4D0C-BAC5-AA8544F5C50B}" type="presParOf" srcId="{A85697D6-4785-4EEF-AAAC-482B77E84B9E}" destId="{324A04EE-F916-4DFF-A5C4-5EB30E684AAE}" srcOrd="2" destOrd="0" presId="urn:microsoft.com/office/officeart/2005/8/layout/orgChart1"/>
    <dgm:cxn modelId="{413F3D13-4C93-417F-9905-B247B2376D9D}" type="presParOf" srcId="{48EBF4F0-3250-45C9-8C88-D2E0E04AA15F}" destId="{36DD4197-9506-4E5E-A4DE-282FB899F6A3}" srcOrd="2" destOrd="0" presId="urn:microsoft.com/office/officeart/2005/8/layout/orgChart1"/>
    <dgm:cxn modelId="{845A11FE-DA5D-47FB-AD77-47B39B0190AA}" type="presParOf" srcId="{B7701242-17D1-4310-93FB-498D5CB7EDCD}" destId="{897EA848-DFC7-4AEE-A274-FC30FC261252}" srcOrd="2" destOrd="0" presId="urn:microsoft.com/office/officeart/2005/8/layout/orgChart1"/>
    <dgm:cxn modelId="{D83D19BF-85E6-4526-A260-98651B637787}" type="presParOf" srcId="{B7701242-17D1-4310-93FB-498D5CB7EDCD}" destId="{892B9C31-2D92-44D6-946F-86FF7CB2BE05}" srcOrd="3" destOrd="0" presId="urn:microsoft.com/office/officeart/2005/8/layout/orgChart1"/>
    <dgm:cxn modelId="{56CFFC61-A6EC-4142-8572-614C778AD8A7}" type="presParOf" srcId="{892B9C31-2D92-44D6-946F-86FF7CB2BE05}" destId="{631B89AB-6257-4F4C-A480-8D73E403EDFF}" srcOrd="0" destOrd="0" presId="urn:microsoft.com/office/officeart/2005/8/layout/orgChart1"/>
    <dgm:cxn modelId="{C973C56A-7D87-4061-8760-739966316B22}" type="presParOf" srcId="{631B89AB-6257-4F4C-A480-8D73E403EDFF}" destId="{0079FDB8-F151-4C60-9D27-DD5C48838872}" srcOrd="0" destOrd="0" presId="urn:microsoft.com/office/officeart/2005/8/layout/orgChart1"/>
    <dgm:cxn modelId="{1849CF69-EE49-4525-9B71-0ABCD39F79B0}" type="presParOf" srcId="{631B89AB-6257-4F4C-A480-8D73E403EDFF}" destId="{C5E2EBC8-9835-4DCA-9D2D-AB3C00F193C6}" srcOrd="1" destOrd="0" presId="urn:microsoft.com/office/officeart/2005/8/layout/orgChart1"/>
    <dgm:cxn modelId="{3F974A50-3D33-4AA1-88C8-E87EB008B8CB}" type="presParOf" srcId="{892B9C31-2D92-44D6-946F-86FF7CB2BE05}" destId="{14778A3C-DE9D-4E9A-A774-5D055F14919E}" srcOrd="1" destOrd="0" presId="urn:microsoft.com/office/officeart/2005/8/layout/orgChart1"/>
    <dgm:cxn modelId="{3EB030FE-F1C5-4A2D-ADDD-89C358DD0D43}" type="presParOf" srcId="{14778A3C-DE9D-4E9A-A774-5D055F14919E}" destId="{8F3682D5-4F4D-4A6C-AC03-1A824FAF13EB}" srcOrd="0" destOrd="0" presId="urn:microsoft.com/office/officeart/2005/8/layout/orgChart1"/>
    <dgm:cxn modelId="{9A102B08-020D-4682-AEEC-CD341EDBC0BF}" type="presParOf" srcId="{14778A3C-DE9D-4E9A-A774-5D055F14919E}" destId="{12B44BC8-A28C-4606-93AD-06F6381BBE56}" srcOrd="1" destOrd="0" presId="urn:microsoft.com/office/officeart/2005/8/layout/orgChart1"/>
    <dgm:cxn modelId="{E5EA87F3-CE92-440C-BAC9-C74C89ACD542}" type="presParOf" srcId="{12B44BC8-A28C-4606-93AD-06F6381BBE56}" destId="{E219EE45-9FB0-4D74-93DA-D54816C4EE53}" srcOrd="0" destOrd="0" presId="urn:microsoft.com/office/officeart/2005/8/layout/orgChart1"/>
    <dgm:cxn modelId="{3E9FA174-2181-4C16-AB5D-4CCB7F0B2372}" type="presParOf" srcId="{E219EE45-9FB0-4D74-93DA-D54816C4EE53}" destId="{FC073F40-053F-4175-91BD-835719CC23F7}" srcOrd="0" destOrd="0" presId="urn:microsoft.com/office/officeart/2005/8/layout/orgChart1"/>
    <dgm:cxn modelId="{ABC7F294-EC2E-484F-87A4-60658519F098}" type="presParOf" srcId="{E219EE45-9FB0-4D74-93DA-D54816C4EE53}" destId="{A4584041-0123-452B-BD72-06270EE6AF45}" srcOrd="1" destOrd="0" presId="urn:microsoft.com/office/officeart/2005/8/layout/orgChart1"/>
    <dgm:cxn modelId="{891993A3-DFF9-43BA-9BAE-567AC4D01825}" type="presParOf" srcId="{12B44BC8-A28C-4606-93AD-06F6381BBE56}" destId="{3ECC9665-D95B-4798-B8A1-D634B87B5E3C}" srcOrd="1" destOrd="0" presId="urn:microsoft.com/office/officeart/2005/8/layout/orgChart1"/>
    <dgm:cxn modelId="{51E7DF3B-DAA8-498C-9B56-59E362FABB90}" type="presParOf" srcId="{12B44BC8-A28C-4606-93AD-06F6381BBE56}" destId="{F69E0942-FB9B-4C19-B42B-33204C521824}" srcOrd="2" destOrd="0" presId="urn:microsoft.com/office/officeart/2005/8/layout/orgChart1"/>
    <dgm:cxn modelId="{74F95FA0-B926-4580-8680-70396D02E90E}" type="presParOf" srcId="{14778A3C-DE9D-4E9A-A774-5D055F14919E}" destId="{EFAC2CFE-79D7-44B5-8ECC-4892C6DDDC9C}" srcOrd="2" destOrd="0" presId="urn:microsoft.com/office/officeart/2005/8/layout/orgChart1"/>
    <dgm:cxn modelId="{1774BE4B-96A3-4237-A82F-2F5F5FD65569}" type="presParOf" srcId="{14778A3C-DE9D-4E9A-A774-5D055F14919E}" destId="{3B5A7263-66D4-4F04-9EAE-70FACFDFBA4F}" srcOrd="3" destOrd="0" presId="urn:microsoft.com/office/officeart/2005/8/layout/orgChart1"/>
    <dgm:cxn modelId="{45E2598B-EF6F-441A-97DD-ECE9AA4D8BE4}" type="presParOf" srcId="{3B5A7263-66D4-4F04-9EAE-70FACFDFBA4F}" destId="{5C678AE2-051F-4DEC-8B6D-966722ED13C2}" srcOrd="0" destOrd="0" presId="urn:microsoft.com/office/officeart/2005/8/layout/orgChart1"/>
    <dgm:cxn modelId="{8F08393D-0A2F-44C2-A500-CBA9A67515A9}" type="presParOf" srcId="{5C678AE2-051F-4DEC-8B6D-966722ED13C2}" destId="{32651543-92F3-429E-AE78-2D396D8FFEBF}" srcOrd="0" destOrd="0" presId="urn:microsoft.com/office/officeart/2005/8/layout/orgChart1"/>
    <dgm:cxn modelId="{D9BB327F-85F6-47D6-9CB5-E192118C00EE}" type="presParOf" srcId="{5C678AE2-051F-4DEC-8B6D-966722ED13C2}" destId="{39DF8E1A-2B61-4EB4-9807-31EB3AFD9E69}" srcOrd="1" destOrd="0" presId="urn:microsoft.com/office/officeart/2005/8/layout/orgChart1"/>
    <dgm:cxn modelId="{CA2DC37C-DF55-4BF9-89B5-CBD8BCC58976}" type="presParOf" srcId="{3B5A7263-66D4-4F04-9EAE-70FACFDFBA4F}" destId="{253EC35E-B5CE-4FD8-9FC3-E7642061C941}" srcOrd="1" destOrd="0" presId="urn:microsoft.com/office/officeart/2005/8/layout/orgChart1"/>
    <dgm:cxn modelId="{5B86FB79-8A5A-454A-9A99-1D9973CA5529}" type="presParOf" srcId="{3B5A7263-66D4-4F04-9EAE-70FACFDFBA4F}" destId="{F6FEBAFC-030C-464E-81E3-493A4A97D7A5}" srcOrd="2" destOrd="0" presId="urn:microsoft.com/office/officeart/2005/8/layout/orgChart1"/>
    <dgm:cxn modelId="{A2251DE9-F10A-4114-9BD8-99B31819AFDA}" type="presParOf" srcId="{14778A3C-DE9D-4E9A-A774-5D055F14919E}" destId="{73861559-648B-4D9B-9A28-C9B21B484F49}" srcOrd="4" destOrd="0" presId="urn:microsoft.com/office/officeart/2005/8/layout/orgChart1"/>
    <dgm:cxn modelId="{50380D02-E20E-4BBE-BA5E-CC2F386D38A2}" type="presParOf" srcId="{14778A3C-DE9D-4E9A-A774-5D055F14919E}" destId="{49263C3F-370E-4255-B2A5-73E713371AD7}" srcOrd="5" destOrd="0" presId="urn:microsoft.com/office/officeart/2005/8/layout/orgChart1"/>
    <dgm:cxn modelId="{59FC2DF3-62B6-4FF1-8516-4A246205B790}" type="presParOf" srcId="{49263C3F-370E-4255-B2A5-73E713371AD7}" destId="{FC8E2B18-7776-4994-86EA-39CD378F02F1}" srcOrd="0" destOrd="0" presId="urn:microsoft.com/office/officeart/2005/8/layout/orgChart1"/>
    <dgm:cxn modelId="{7A9A022F-B831-4BE9-93D0-FB2E77C4D399}" type="presParOf" srcId="{FC8E2B18-7776-4994-86EA-39CD378F02F1}" destId="{2E2CE622-3F0C-4844-BE16-D142471598CA}" srcOrd="0" destOrd="0" presId="urn:microsoft.com/office/officeart/2005/8/layout/orgChart1"/>
    <dgm:cxn modelId="{578E8263-1ED6-420A-9BA1-B91E4D630FBB}" type="presParOf" srcId="{FC8E2B18-7776-4994-86EA-39CD378F02F1}" destId="{0E4CC479-8147-4C6F-9144-EB8D0ED3693B}" srcOrd="1" destOrd="0" presId="urn:microsoft.com/office/officeart/2005/8/layout/orgChart1"/>
    <dgm:cxn modelId="{6BC85CAD-D9D4-4FC0-92E2-1226930EB097}" type="presParOf" srcId="{49263C3F-370E-4255-B2A5-73E713371AD7}" destId="{64D90D09-619B-4BB9-8DB4-A70E3582E4AE}" srcOrd="1" destOrd="0" presId="urn:microsoft.com/office/officeart/2005/8/layout/orgChart1"/>
    <dgm:cxn modelId="{C9A4484B-D851-447D-A211-D3452656DE10}" type="presParOf" srcId="{49263C3F-370E-4255-B2A5-73E713371AD7}" destId="{FD51BBB5-E3BC-44BA-96E7-7D55EF82677A}" srcOrd="2" destOrd="0" presId="urn:microsoft.com/office/officeart/2005/8/layout/orgChart1"/>
    <dgm:cxn modelId="{A765FF22-A1CC-4EA6-A3BB-414351B82082}" type="presParOf" srcId="{14778A3C-DE9D-4E9A-A774-5D055F14919E}" destId="{4DBC7B1E-2DA0-4B0E-B321-703872C99B03}" srcOrd="6" destOrd="0" presId="urn:microsoft.com/office/officeart/2005/8/layout/orgChart1"/>
    <dgm:cxn modelId="{30963726-543E-4184-80C9-317D351CFF63}" type="presParOf" srcId="{14778A3C-DE9D-4E9A-A774-5D055F14919E}" destId="{A75A8E88-173A-48AF-BCC7-B0C4CC04A943}" srcOrd="7" destOrd="0" presId="urn:microsoft.com/office/officeart/2005/8/layout/orgChart1"/>
    <dgm:cxn modelId="{A452875B-649B-4148-8B02-949CE122CE57}" type="presParOf" srcId="{A75A8E88-173A-48AF-BCC7-B0C4CC04A943}" destId="{EB4F936B-522A-4AAE-9C23-3AEE9027F75C}" srcOrd="0" destOrd="0" presId="urn:microsoft.com/office/officeart/2005/8/layout/orgChart1"/>
    <dgm:cxn modelId="{5FA7F233-1DBA-405A-A271-BF5548FEF2ED}" type="presParOf" srcId="{EB4F936B-522A-4AAE-9C23-3AEE9027F75C}" destId="{92F90DBF-2A64-47C2-8ED6-7D186F84E6E3}" srcOrd="0" destOrd="0" presId="urn:microsoft.com/office/officeart/2005/8/layout/orgChart1"/>
    <dgm:cxn modelId="{EDB3B97B-2A7C-4D7B-BF0B-FB47CF08403A}" type="presParOf" srcId="{EB4F936B-522A-4AAE-9C23-3AEE9027F75C}" destId="{A8053DE9-6C26-48A8-AB69-73C27B19024C}" srcOrd="1" destOrd="0" presId="urn:microsoft.com/office/officeart/2005/8/layout/orgChart1"/>
    <dgm:cxn modelId="{D7FD5B77-87D5-48F8-B5E0-AD15ACA9133D}" type="presParOf" srcId="{A75A8E88-173A-48AF-BCC7-B0C4CC04A943}" destId="{6E31B0A0-12E1-4DD8-8B06-EF2602D5F3E7}" srcOrd="1" destOrd="0" presId="urn:microsoft.com/office/officeart/2005/8/layout/orgChart1"/>
    <dgm:cxn modelId="{4C0EF61D-FB0B-46E6-8E45-3856CF321C58}" type="presParOf" srcId="{A75A8E88-173A-48AF-BCC7-B0C4CC04A943}" destId="{3C68971E-4D54-4AA9-B743-A6DBC208D36E}" srcOrd="2" destOrd="0" presId="urn:microsoft.com/office/officeart/2005/8/layout/orgChart1"/>
    <dgm:cxn modelId="{0149EF1C-B646-4079-A6F9-0A45F627F60C}" type="presParOf" srcId="{892B9C31-2D92-44D6-946F-86FF7CB2BE05}" destId="{49C74E26-A75A-423E-AE28-32B1BC3DF667}" srcOrd="2" destOrd="0" presId="urn:microsoft.com/office/officeart/2005/8/layout/orgChart1"/>
    <dgm:cxn modelId="{A2FD877C-C81B-487C-AFC6-2D00D85833CF}" type="presParOf" srcId="{B7701242-17D1-4310-93FB-498D5CB7EDCD}" destId="{FF1380C8-1088-4831-9DFA-B414C9770794}" srcOrd="4" destOrd="0" presId="urn:microsoft.com/office/officeart/2005/8/layout/orgChart1"/>
    <dgm:cxn modelId="{AE0DF263-EA42-4BF0-A8E8-7842401F50BA}" type="presParOf" srcId="{B7701242-17D1-4310-93FB-498D5CB7EDCD}" destId="{B85B8C12-7276-4C93-8FC6-9CAECDC79A30}" srcOrd="5" destOrd="0" presId="urn:microsoft.com/office/officeart/2005/8/layout/orgChart1"/>
    <dgm:cxn modelId="{3DA66401-27DC-4C02-BCDD-A1989ED9F770}" type="presParOf" srcId="{B85B8C12-7276-4C93-8FC6-9CAECDC79A30}" destId="{046995C0-1DDB-4FF3-AFF9-297988A73988}" srcOrd="0" destOrd="0" presId="urn:microsoft.com/office/officeart/2005/8/layout/orgChart1"/>
    <dgm:cxn modelId="{1A499AFF-7475-40FB-8E41-C2F61D776D88}" type="presParOf" srcId="{046995C0-1DDB-4FF3-AFF9-297988A73988}" destId="{1656141C-D8A8-4336-99AB-6C5F2F6DCEB4}" srcOrd="0" destOrd="0" presId="urn:microsoft.com/office/officeart/2005/8/layout/orgChart1"/>
    <dgm:cxn modelId="{FC5D23E6-1D32-43CB-BF2C-1F10B276E8AE}" type="presParOf" srcId="{046995C0-1DDB-4FF3-AFF9-297988A73988}" destId="{CD38476F-95EB-4DF7-8CAD-05315FD531C1}" srcOrd="1" destOrd="0" presId="urn:microsoft.com/office/officeart/2005/8/layout/orgChart1"/>
    <dgm:cxn modelId="{517850D8-2E36-40EC-8905-0AC74AFF8017}" type="presParOf" srcId="{B85B8C12-7276-4C93-8FC6-9CAECDC79A30}" destId="{7F8A58C4-B89C-4FE3-8229-721310E169C4}" srcOrd="1" destOrd="0" presId="urn:microsoft.com/office/officeart/2005/8/layout/orgChart1"/>
    <dgm:cxn modelId="{9DC54C96-39BE-4B4C-B197-E518C7A1E576}" type="presParOf" srcId="{7F8A58C4-B89C-4FE3-8229-721310E169C4}" destId="{FE51077E-23A3-435E-A5F6-F8DF8EE18229}" srcOrd="0" destOrd="0" presId="urn:microsoft.com/office/officeart/2005/8/layout/orgChart1"/>
    <dgm:cxn modelId="{52060BBE-E71C-4E6C-A527-D1858828CE51}" type="presParOf" srcId="{7F8A58C4-B89C-4FE3-8229-721310E169C4}" destId="{B7E65EC3-F5E5-47B2-8F8C-1DEC7206E1A3}" srcOrd="1" destOrd="0" presId="urn:microsoft.com/office/officeart/2005/8/layout/orgChart1"/>
    <dgm:cxn modelId="{A65F2F83-58D3-46FE-B67E-4D116C0831E1}" type="presParOf" srcId="{B7E65EC3-F5E5-47B2-8F8C-1DEC7206E1A3}" destId="{03B5DFCB-964F-4FDD-9929-971823107F91}" srcOrd="0" destOrd="0" presId="urn:microsoft.com/office/officeart/2005/8/layout/orgChart1"/>
    <dgm:cxn modelId="{E43A277A-E3BA-42E4-8546-C18370789E37}" type="presParOf" srcId="{03B5DFCB-964F-4FDD-9929-971823107F91}" destId="{A758D782-D509-47BD-B1B9-30C35299CAFA}" srcOrd="0" destOrd="0" presId="urn:microsoft.com/office/officeart/2005/8/layout/orgChart1"/>
    <dgm:cxn modelId="{4509495C-CA4E-4826-BC45-2E0D6B728E37}" type="presParOf" srcId="{03B5DFCB-964F-4FDD-9929-971823107F91}" destId="{E8B2EA3E-C6A1-435B-9559-5CFBD40D9688}" srcOrd="1" destOrd="0" presId="urn:microsoft.com/office/officeart/2005/8/layout/orgChart1"/>
    <dgm:cxn modelId="{98D15489-DCAB-438B-969E-35EF05A72945}" type="presParOf" srcId="{B7E65EC3-F5E5-47B2-8F8C-1DEC7206E1A3}" destId="{B6627E10-EDFB-4F9E-811E-F9B3848F65E8}" srcOrd="1" destOrd="0" presId="urn:microsoft.com/office/officeart/2005/8/layout/orgChart1"/>
    <dgm:cxn modelId="{A164F365-F005-4613-8E97-FBA9FA3B0E27}" type="presParOf" srcId="{B7E65EC3-F5E5-47B2-8F8C-1DEC7206E1A3}" destId="{41B15C63-EEB2-48EF-A470-BE0DBBF2FF38}" srcOrd="2" destOrd="0" presId="urn:microsoft.com/office/officeart/2005/8/layout/orgChart1"/>
    <dgm:cxn modelId="{97F330E1-4CFD-4F42-8181-0964E71D4013}" type="presParOf" srcId="{7F8A58C4-B89C-4FE3-8229-721310E169C4}" destId="{3B93A72B-AC5A-4706-BB9F-3FCD63FF56B3}" srcOrd="2" destOrd="0" presId="urn:microsoft.com/office/officeart/2005/8/layout/orgChart1"/>
    <dgm:cxn modelId="{60E94F31-10A5-4203-A59D-A7731CA264C0}" type="presParOf" srcId="{7F8A58C4-B89C-4FE3-8229-721310E169C4}" destId="{77D73A48-6219-4D10-BC35-E30B5BAC8ADD}" srcOrd="3" destOrd="0" presId="urn:microsoft.com/office/officeart/2005/8/layout/orgChart1"/>
    <dgm:cxn modelId="{DC02677A-A7F4-4752-B5CB-7CE85DA020EE}" type="presParOf" srcId="{77D73A48-6219-4D10-BC35-E30B5BAC8ADD}" destId="{0BED716A-0C8D-421A-A37F-BDC57D108433}" srcOrd="0" destOrd="0" presId="urn:microsoft.com/office/officeart/2005/8/layout/orgChart1"/>
    <dgm:cxn modelId="{37AF4DBA-1FB5-4B15-AD1A-22B142C7550D}" type="presParOf" srcId="{0BED716A-0C8D-421A-A37F-BDC57D108433}" destId="{2868756B-7AC9-479C-A8AD-A774C0A7A7DA}" srcOrd="0" destOrd="0" presId="urn:microsoft.com/office/officeart/2005/8/layout/orgChart1"/>
    <dgm:cxn modelId="{116995A7-7579-4670-B74E-11E0591E9F13}" type="presParOf" srcId="{0BED716A-0C8D-421A-A37F-BDC57D108433}" destId="{741C9FAD-ECAF-4203-A382-166B8251EE0E}" srcOrd="1" destOrd="0" presId="urn:microsoft.com/office/officeart/2005/8/layout/orgChart1"/>
    <dgm:cxn modelId="{138BD173-75F2-408F-A4C0-07937AD47662}" type="presParOf" srcId="{77D73A48-6219-4D10-BC35-E30B5BAC8ADD}" destId="{CC140E20-F061-4AD2-AC38-C4365CD423D0}" srcOrd="1" destOrd="0" presId="urn:microsoft.com/office/officeart/2005/8/layout/orgChart1"/>
    <dgm:cxn modelId="{DE7C56C9-1DE9-42AB-9C1E-041325B4536D}" type="presParOf" srcId="{77D73A48-6219-4D10-BC35-E30B5BAC8ADD}" destId="{790A3154-CA72-4179-839A-8D5A6EEF87CE}" srcOrd="2" destOrd="0" presId="urn:microsoft.com/office/officeart/2005/8/layout/orgChart1"/>
    <dgm:cxn modelId="{19693AA3-69FE-43CD-A4A1-17C62C94D811}" type="presParOf" srcId="{7F8A58C4-B89C-4FE3-8229-721310E169C4}" destId="{D06DBD90-25E5-4A43-BFF7-0A0CD2B4BA7D}" srcOrd="4" destOrd="0" presId="urn:microsoft.com/office/officeart/2005/8/layout/orgChart1"/>
    <dgm:cxn modelId="{BE3AA79C-5A1D-48DF-A311-57C118A16B6A}" type="presParOf" srcId="{7F8A58C4-B89C-4FE3-8229-721310E169C4}" destId="{C0E51987-88D2-474F-998E-BA8A1A9A36D9}" srcOrd="5" destOrd="0" presId="urn:microsoft.com/office/officeart/2005/8/layout/orgChart1"/>
    <dgm:cxn modelId="{654E6993-B22C-4A17-BD02-1E8EFD11039F}" type="presParOf" srcId="{C0E51987-88D2-474F-998E-BA8A1A9A36D9}" destId="{E099B3B9-0557-46CF-B554-C4E776908D95}" srcOrd="0" destOrd="0" presId="urn:microsoft.com/office/officeart/2005/8/layout/orgChart1"/>
    <dgm:cxn modelId="{3C6ED464-4D9B-4FA7-AD36-70B45B63EDAC}" type="presParOf" srcId="{E099B3B9-0557-46CF-B554-C4E776908D95}" destId="{B4CD171E-6BF2-408C-80AF-2CE0FD40BEDC}" srcOrd="0" destOrd="0" presId="urn:microsoft.com/office/officeart/2005/8/layout/orgChart1"/>
    <dgm:cxn modelId="{C0175C58-55AD-4C4F-A3B5-7C27EAB95D36}" type="presParOf" srcId="{E099B3B9-0557-46CF-B554-C4E776908D95}" destId="{8E80FB71-C7F6-44BB-8E7A-4B59107E55C8}" srcOrd="1" destOrd="0" presId="urn:microsoft.com/office/officeart/2005/8/layout/orgChart1"/>
    <dgm:cxn modelId="{380DE3A7-FB5A-4216-BC0D-B53C394C8210}" type="presParOf" srcId="{C0E51987-88D2-474F-998E-BA8A1A9A36D9}" destId="{5CD11798-8369-4FCE-B5B8-4969EA446FE8}" srcOrd="1" destOrd="0" presId="urn:microsoft.com/office/officeart/2005/8/layout/orgChart1"/>
    <dgm:cxn modelId="{EFAE577D-B36C-4901-B122-5D72DB0D1671}" type="presParOf" srcId="{C0E51987-88D2-474F-998E-BA8A1A9A36D9}" destId="{6121C87E-2B70-4017-B4C1-2E1FE6938E4D}" srcOrd="2" destOrd="0" presId="urn:microsoft.com/office/officeart/2005/8/layout/orgChart1"/>
    <dgm:cxn modelId="{2205CF15-1923-4C30-9D2E-95EF9657FFC0}" type="presParOf" srcId="{7F8A58C4-B89C-4FE3-8229-721310E169C4}" destId="{BAEBAB07-6AF1-4C1A-9E1D-729D305F15F4}" srcOrd="6" destOrd="0" presId="urn:microsoft.com/office/officeart/2005/8/layout/orgChart1"/>
    <dgm:cxn modelId="{0D982523-B2D5-40F3-9C8D-4FB7FC7B746B}" type="presParOf" srcId="{7F8A58C4-B89C-4FE3-8229-721310E169C4}" destId="{73BBF4D6-1CF5-47BD-9823-7918065E8C23}" srcOrd="7" destOrd="0" presId="urn:microsoft.com/office/officeart/2005/8/layout/orgChart1"/>
    <dgm:cxn modelId="{80C188DC-969D-4458-9A14-7EA4C196F02F}" type="presParOf" srcId="{73BBF4D6-1CF5-47BD-9823-7918065E8C23}" destId="{81CC727C-B501-45F2-A172-CA489BE2F156}" srcOrd="0" destOrd="0" presId="urn:microsoft.com/office/officeart/2005/8/layout/orgChart1"/>
    <dgm:cxn modelId="{E10BE477-9017-4F66-AEB1-F57A5308939E}" type="presParOf" srcId="{81CC727C-B501-45F2-A172-CA489BE2F156}" destId="{A8D1F87E-4B43-4032-ACF6-84CE548BA08E}" srcOrd="0" destOrd="0" presId="urn:microsoft.com/office/officeart/2005/8/layout/orgChart1"/>
    <dgm:cxn modelId="{5AD9733E-82CA-4A47-9434-0505E4B6F6FE}" type="presParOf" srcId="{81CC727C-B501-45F2-A172-CA489BE2F156}" destId="{0A182B6F-B42A-423F-9493-8E2BC3E349C2}" srcOrd="1" destOrd="0" presId="urn:microsoft.com/office/officeart/2005/8/layout/orgChart1"/>
    <dgm:cxn modelId="{E0B2E91D-976A-4C7C-9DF1-6A357B380C22}" type="presParOf" srcId="{73BBF4D6-1CF5-47BD-9823-7918065E8C23}" destId="{1AAB523B-3364-4917-9BEA-F17ABD2AF700}" srcOrd="1" destOrd="0" presId="urn:microsoft.com/office/officeart/2005/8/layout/orgChart1"/>
    <dgm:cxn modelId="{55ACD69B-2F9C-4703-8968-923E18E6EA1B}" type="presParOf" srcId="{73BBF4D6-1CF5-47BD-9823-7918065E8C23}" destId="{060F3A51-2C99-4A3A-BFD9-24003E6EC0CE}" srcOrd="2" destOrd="0" presId="urn:microsoft.com/office/officeart/2005/8/layout/orgChart1"/>
    <dgm:cxn modelId="{197D02F4-0B6C-49BE-8801-8D780FE1D9C3}" type="presParOf" srcId="{7F8A58C4-B89C-4FE3-8229-721310E169C4}" destId="{8D6A9976-F539-40D1-A36C-D578D8E57B4B}" srcOrd="8" destOrd="0" presId="urn:microsoft.com/office/officeart/2005/8/layout/orgChart1"/>
    <dgm:cxn modelId="{B1D620A6-F995-4231-9D93-7A13B386027B}" type="presParOf" srcId="{7F8A58C4-B89C-4FE3-8229-721310E169C4}" destId="{5ACE9844-4CF0-40B8-8C71-1E67D5FE4DC4}" srcOrd="9" destOrd="0" presId="urn:microsoft.com/office/officeart/2005/8/layout/orgChart1"/>
    <dgm:cxn modelId="{AE9AC169-3A46-4A8C-A1DE-1F55074666DC}" type="presParOf" srcId="{5ACE9844-4CF0-40B8-8C71-1E67D5FE4DC4}" destId="{6ED920D7-F711-4D33-B20E-B89CA59339CD}" srcOrd="0" destOrd="0" presId="urn:microsoft.com/office/officeart/2005/8/layout/orgChart1"/>
    <dgm:cxn modelId="{BBD4846A-68B6-4ABD-BC80-F2404850B8C6}" type="presParOf" srcId="{6ED920D7-F711-4D33-B20E-B89CA59339CD}" destId="{8FA9B796-832C-4172-90B7-8EE9CFC409C6}" srcOrd="0" destOrd="0" presId="urn:microsoft.com/office/officeart/2005/8/layout/orgChart1"/>
    <dgm:cxn modelId="{49B2ACCE-794E-4E00-A923-474D90BF5020}" type="presParOf" srcId="{6ED920D7-F711-4D33-B20E-B89CA59339CD}" destId="{C1363F70-7A75-403C-9260-B139825EF195}" srcOrd="1" destOrd="0" presId="urn:microsoft.com/office/officeart/2005/8/layout/orgChart1"/>
    <dgm:cxn modelId="{7C27D22B-51CA-4F29-8AAF-FA7A568E7569}" type="presParOf" srcId="{5ACE9844-4CF0-40B8-8C71-1E67D5FE4DC4}" destId="{FF916358-13A7-42FA-9977-9E7EE9AE3F64}" srcOrd="1" destOrd="0" presId="urn:microsoft.com/office/officeart/2005/8/layout/orgChart1"/>
    <dgm:cxn modelId="{C25B429D-637F-42A0-AF6C-24B389BB9BAA}" type="presParOf" srcId="{5ACE9844-4CF0-40B8-8C71-1E67D5FE4DC4}" destId="{8A3297FC-9750-4115-A074-8069AD35B3AD}" srcOrd="2" destOrd="0" presId="urn:microsoft.com/office/officeart/2005/8/layout/orgChart1"/>
    <dgm:cxn modelId="{50FC3DA2-C61B-485B-886E-EF0AF8E38435}" type="presParOf" srcId="{B85B8C12-7276-4C93-8FC6-9CAECDC79A30}" destId="{8635893D-985F-482C-96F4-8DC8D5286D90}" srcOrd="2" destOrd="0" presId="urn:microsoft.com/office/officeart/2005/8/layout/orgChart1"/>
    <dgm:cxn modelId="{AE1DAE3D-3C51-4E19-BCDC-E68665C190C9}" type="presParOf" srcId="{B7701242-17D1-4310-93FB-498D5CB7EDCD}" destId="{EB3DC70A-3B93-4B75-ACD0-2467878CC574}" srcOrd="6" destOrd="0" presId="urn:microsoft.com/office/officeart/2005/8/layout/orgChart1"/>
    <dgm:cxn modelId="{35D35C14-6ABC-4442-981B-6A1A73EE2715}" type="presParOf" srcId="{B7701242-17D1-4310-93FB-498D5CB7EDCD}" destId="{17D3F377-1807-4BC6-B530-DF411055746D}" srcOrd="7" destOrd="0" presId="urn:microsoft.com/office/officeart/2005/8/layout/orgChart1"/>
    <dgm:cxn modelId="{45EB8E7B-D00F-4290-8FA3-451670C90571}" type="presParOf" srcId="{17D3F377-1807-4BC6-B530-DF411055746D}" destId="{B36B3D2F-354A-487B-B71E-5F1189C1A1E6}" srcOrd="0" destOrd="0" presId="urn:microsoft.com/office/officeart/2005/8/layout/orgChart1"/>
    <dgm:cxn modelId="{28466337-6956-4D53-A716-F1ABAF13CC21}" type="presParOf" srcId="{B36B3D2F-354A-487B-B71E-5F1189C1A1E6}" destId="{1D565A37-CF2F-4D08-84B9-531039161899}" srcOrd="0" destOrd="0" presId="urn:microsoft.com/office/officeart/2005/8/layout/orgChart1"/>
    <dgm:cxn modelId="{FC6CA44D-72C2-41F8-A53F-87C4611E98C1}" type="presParOf" srcId="{B36B3D2F-354A-487B-B71E-5F1189C1A1E6}" destId="{4B151B24-3C22-4628-8E36-510AA448C12E}" srcOrd="1" destOrd="0" presId="urn:microsoft.com/office/officeart/2005/8/layout/orgChart1"/>
    <dgm:cxn modelId="{D78D4751-A521-4EB5-81D7-BFDB479AB046}" type="presParOf" srcId="{17D3F377-1807-4BC6-B530-DF411055746D}" destId="{7881CCE0-2368-4952-BBC3-027B2FFA7C3F}" srcOrd="1" destOrd="0" presId="urn:microsoft.com/office/officeart/2005/8/layout/orgChart1"/>
    <dgm:cxn modelId="{39C6932C-A567-48A9-8DFA-F46B84256F36}" type="presParOf" srcId="{7881CCE0-2368-4952-BBC3-027B2FFA7C3F}" destId="{C5FE18FD-1D1A-496F-935E-C08D2E76A9CB}" srcOrd="0" destOrd="0" presId="urn:microsoft.com/office/officeart/2005/8/layout/orgChart1"/>
    <dgm:cxn modelId="{6957ACAC-E56F-432D-BEBF-BFBF1C70390B}" type="presParOf" srcId="{7881CCE0-2368-4952-BBC3-027B2FFA7C3F}" destId="{C1DD40BC-673E-4C3B-B7A2-6A98FB83570F}" srcOrd="1" destOrd="0" presId="urn:microsoft.com/office/officeart/2005/8/layout/orgChart1"/>
    <dgm:cxn modelId="{B4A84AEE-958A-4FBE-AB03-F92B92CC36CE}" type="presParOf" srcId="{C1DD40BC-673E-4C3B-B7A2-6A98FB83570F}" destId="{75184031-9773-4F31-8BC5-5F7FE0DF524A}" srcOrd="0" destOrd="0" presId="urn:microsoft.com/office/officeart/2005/8/layout/orgChart1"/>
    <dgm:cxn modelId="{672A7DAA-EE63-4C91-8A38-50A8409A756E}" type="presParOf" srcId="{75184031-9773-4F31-8BC5-5F7FE0DF524A}" destId="{0484552F-A9A0-4ABD-BAC6-D4921CDFD900}" srcOrd="0" destOrd="0" presId="urn:microsoft.com/office/officeart/2005/8/layout/orgChart1"/>
    <dgm:cxn modelId="{EA1722F0-C817-4D19-BB6D-1FAA4ADAD36D}" type="presParOf" srcId="{75184031-9773-4F31-8BC5-5F7FE0DF524A}" destId="{69C47226-9365-4663-8846-C4FC7BD7AAC2}" srcOrd="1" destOrd="0" presId="urn:microsoft.com/office/officeart/2005/8/layout/orgChart1"/>
    <dgm:cxn modelId="{68B4D920-BDD5-4BA5-8186-E01FC712E472}" type="presParOf" srcId="{C1DD40BC-673E-4C3B-B7A2-6A98FB83570F}" destId="{231FADB6-51A2-42C4-8A66-721FF335CFE7}" srcOrd="1" destOrd="0" presId="urn:microsoft.com/office/officeart/2005/8/layout/orgChart1"/>
    <dgm:cxn modelId="{0D92DD1E-C0AC-4F74-A495-5A9642835487}" type="presParOf" srcId="{C1DD40BC-673E-4C3B-B7A2-6A98FB83570F}" destId="{A1D3CCBA-29CA-4F87-8426-CF71BDCFF11C}" srcOrd="2" destOrd="0" presId="urn:microsoft.com/office/officeart/2005/8/layout/orgChart1"/>
    <dgm:cxn modelId="{BC622A81-FACE-4EAC-9660-7F894B3C8AD0}" type="presParOf" srcId="{7881CCE0-2368-4952-BBC3-027B2FFA7C3F}" destId="{7A90AB04-4DCF-4529-B13F-58DFE8D49EE3}" srcOrd="2" destOrd="0" presId="urn:microsoft.com/office/officeart/2005/8/layout/orgChart1"/>
    <dgm:cxn modelId="{D559615E-D5DE-4756-9FC0-952145A789EF}" type="presParOf" srcId="{7881CCE0-2368-4952-BBC3-027B2FFA7C3F}" destId="{B030A731-C4F5-4223-B921-A03C07F8721C}" srcOrd="3" destOrd="0" presId="urn:microsoft.com/office/officeart/2005/8/layout/orgChart1"/>
    <dgm:cxn modelId="{38C71D3D-7713-45B1-A363-01B080EDA103}" type="presParOf" srcId="{B030A731-C4F5-4223-B921-A03C07F8721C}" destId="{6E5FECDA-CFCF-45BE-81CA-9C40B594DFF5}" srcOrd="0" destOrd="0" presId="urn:microsoft.com/office/officeart/2005/8/layout/orgChart1"/>
    <dgm:cxn modelId="{1241D5F3-7437-4A38-A5CE-3BB86B5E2BEE}" type="presParOf" srcId="{6E5FECDA-CFCF-45BE-81CA-9C40B594DFF5}" destId="{D1C7B55D-B26B-4348-98F3-1352E5907100}" srcOrd="0" destOrd="0" presId="urn:microsoft.com/office/officeart/2005/8/layout/orgChart1"/>
    <dgm:cxn modelId="{DFDEB67B-EC4C-44D1-BF84-AC41F68244B4}" type="presParOf" srcId="{6E5FECDA-CFCF-45BE-81CA-9C40B594DFF5}" destId="{EEDECAF5-A883-4468-85AC-67711CFA2C3C}" srcOrd="1" destOrd="0" presId="urn:microsoft.com/office/officeart/2005/8/layout/orgChart1"/>
    <dgm:cxn modelId="{3A6B4453-A806-4156-B617-7E7F26DFF730}" type="presParOf" srcId="{B030A731-C4F5-4223-B921-A03C07F8721C}" destId="{E1639423-D006-4696-B59F-FB63890C410C}" srcOrd="1" destOrd="0" presId="urn:microsoft.com/office/officeart/2005/8/layout/orgChart1"/>
    <dgm:cxn modelId="{38D258BD-BE37-4DD4-8134-787E1855462D}" type="presParOf" srcId="{B030A731-C4F5-4223-B921-A03C07F8721C}" destId="{1762EB95-5AC2-40A5-93E6-62F5EF2FE8D1}" srcOrd="2" destOrd="0" presId="urn:microsoft.com/office/officeart/2005/8/layout/orgChart1"/>
    <dgm:cxn modelId="{5A7FDE0E-D70F-4A2A-9B1C-999AC7C3D6A8}" type="presParOf" srcId="{7881CCE0-2368-4952-BBC3-027B2FFA7C3F}" destId="{1E735175-0A4B-40FA-A7FA-F97EAE542F93}" srcOrd="4" destOrd="0" presId="urn:microsoft.com/office/officeart/2005/8/layout/orgChart1"/>
    <dgm:cxn modelId="{D252F51A-1144-493F-A916-64A4520F8ED1}" type="presParOf" srcId="{7881CCE0-2368-4952-BBC3-027B2FFA7C3F}" destId="{07AB9C53-A827-43C3-9EC7-F37E61A7D628}" srcOrd="5" destOrd="0" presId="urn:microsoft.com/office/officeart/2005/8/layout/orgChart1"/>
    <dgm:cxn modelId="{28C26F98-FA4B-4F39-92AA-FA6652159BB0}" type="presParOf" srcId="{07AB9C53-A827-43C3-9EC7-F37E61A7D628}" destId="{7B0DAFDA-B72D-4839-9885-9FF00C01B88E}" srcOrd="0" destOrd="0" presId="urn:microsoft.com/office/officeart/2005/8/layout/orgChart1"/>
    <dgm:cxn modelId="{54B4AA16-756B-482B-9D86-A544A55E406E}" type="presParOf" srcId="{7B0DAFDA-B72D-4839-9885-9FF00C01B88E}" destId="{2B7B6EF6-3917-4E5C-9F2B-F2B99FEEBD9F}" srcOrd="0" destOrd="0" presId="urn:microsoft.com/office/officeart/2005/8/layout/orgChart1"/>
    <dgm:cxn modelId="{170033C4-F6C8-4C94-AC68-787C3AEFF918}" type="presParOf" srcId="{7B0DAFDA-B72D-4839-9885-9FF00C01B88E}" destId="{E50BB666-85D7-4866-8644-C03D215E7155}" srcOrd="1" destOrd="0" presId="urn:microsoft.com/office/officeart/2005/8/layout/orgChart1"/>
    <dgm:cxn modelId="{EE0BF28D-46D3-47D3-8F32-E97373138DE6}" type="presParOf" srcId="{07AB9C53-A827-43C3-9EC7-F37E61A7D628}" destId="{2E0BC512-86F2-4EFA-BFD9-1202DEAEB2EC}" srcOrd="1" destOrd="0" presId="urn:microsoft.com/office/officeart/2005/8/layout/orgChart1"/>
    <dgm:cxn modelId="{09E2B3F0-8EF4-4DAC-8F15-4381FB60759E}" type="presParOf" srcId="{07AB9C53-A827-43C3-9EC7-F37E61A7D628}" destId="{1FBC9B08-57BC-45B8-862A-9E408AEB12B9}" srcOrd="2" destOrd="0" presId="urn:microsoft.com/office/officeart/2005/8/layout/orgChart1"/>
    <dgm:cxn modelId="{BCA3964A-9B0D-423D-8AEB-B01492C64509}" type="presParOf" srcId="{7881CCE0-2368-4952-BBC3-027B2FFA7C3F}" destId="{A0841858-614A-4DB1-8CD2-8A429DAEDDC4}" srcOrd="6" destOrd="0" presId="urn:microsoft.com/office/officeart/2005/8/layout/orgChart1"/>
    <dgm:cxn modelId="{F65B1B4D-273B-4439-AE40-30AC876FF8D1}" type="presParOf" srcId="{7881CCE0-2368-4952-BBC3-027B2FFA7C3F}" destId="{24788371-B748-45A6-84E8-426C9E2D7F16}" srcOrd="7" destOrd="0" presId="urn:microsoft.com/office/officeart/2005/8/layout/orgChart1"/>
    <dgm:cxn modelId="{DF5983B4-ED62-41C7-91D9-B09303E2070F}" type="presParOf" srcId="{24788371-B748-45A6-84E8-426C9E2D7F16}" destId="{7F7979C5-C5FE-457B-9E66-A6A3F45CDC43}" srcOrd="0" destOrd="0" presId="urn:microsoft.com/office/officeart/2005/8/layout/orgChart1"/>
    <dgm:cxn modelId="{320983FE-4B13-49BE-B37C-CCD0204537D8}" type="presParOf" srcId="{7F7979C5-C5FE-457B-9E66-A6A3F45CDC43}" destId="{AB176A57-46AE-4B28-BE6A-0B0FDD71F3EA}" srcOrd="0" destOrd="0" presId="urn:microsoft.com/office/officeart/2005/8/layout/orgChart1"/>
    <dgm:cxn modelId="{41BF06D7-98C4-4708-ABB8-B70EC7D8B59D}" type="presParOf" srcId="{7F7979C5-C5FE-457B-9E66-A6A3F45CDC43}" destId="{1C1776A7-C6C7-4A9E-A945-5567CF3E1CB5}" srcOrd="1" destOrd="0" presId="urn:microsoft.com/office/officeart/2005/8/layout/orgChart1"/>
    <dgm:cxn modelId="{BF6783C3-6D97-4AC2-AA0C-604E4FABB239}" type="presParOf" srcId="{24788371-B748-45A6-84E8-426C9E2D7F16}" destId="{5B1C7332-C22B-409A-B259-BF6C52EE5749}" srcOrd="1" destOrd="0" presId="urn:microsoft.com/office/officeart/2005/8/layout/orgChart1"/>
    <dgm:cxn modelId="{8D4296BA-152B-4810-927B-5DD9743867E1}" type="presParOf" srcId="{24788371-B748-45A6-84E8-426C9E2D7F16}" destId="{254FB7B4-501D-4E1E-BEE1-50B8860D58E4}" srcOrd="2" destOrd="0" presId="urn:microsoft.com/office/officeart/2005/8/layout/orgChart1"/>
    <dgm:cxn modelId="{7EF88DC8-864F-43C9-B549-28EA0CCB2C16}" type="presParOf" srcId="{7881CCE0-2368-4952-BBC3-027B2FFA7C3F}" destId="{20C390CF-4A88-431B-88EB-92D18FB0548E}" srcOrd="8" destOrd="0" presId="urn:microsoft.com/office/officeart/2005/8/layout/orgChart1"/>
    <dgm:cxn modelId="{EFC8DC58-DE6F-49D3-A4FA-0B03D2AF697F}" type="presParOf" srcId="{7881CCE0-2368-4952-BBC3-027B2FFA7C3F}" destId="{66E01E8D-8400-4B53-B6C5-C51F5CDD50E4}" srcOrd="9" destOrd="0" presId="urn:microsoft.com/office/officeart/2005/8/layout/orgChart1"/>
    <dgm:cxn modelId="{50EB3698-D78A-4B44-A0F4-7B0B312E918D}" type="presParOf" srcId="{66E01E8D-8400-4B53-B6C5-C51F5CDD50E4}" destId="{BBC77D17-B0CD-4D73-9F4C-4B1BC50B1428}" srcOrd="0" destOrd="0" presId="urn:microsoft.com/office/officeart/2005/8/layout/orgChart1"/>
    <dgm:cxn modelId="{E7A426F3-CB8A-479C-88FD-16EE6DA14907}" type="presParOf" srcId="{BBC77D17-B0CD-4D73-9F4C-4B1BC50B1428}" destId="{4CBBAABF-EAB4-4DAE-A39A-230AAAEA22F9}" srcOrd="0" destOrd="0" presId="urn:microsoft.com/office/officeart/2005/8/layout/orgChart1"/>
    <dgm:cxn modelId="{1453FA34-F41A-4670-979B-0E08096AB3B2}" type="presParOf" srcId="{BBC77D17-B0CD-4D73-9F4C-4B1BC50B1428}" destId="{5C2EC291-DAE2-4262-A251-98C720A8B733}" srcOrd="1" destOrd="0" presId="urn:microsoft.com/office/officeart/2005/8/layout/orgChart1"/>
    <dgm:cxn modelId="{456D3FBA-23D6-423A-BC4B-FE6D0434B1F8}" type="presParOf" srcId="{66E01E8D-8400-4B53-B6C5-C51F5CDD50E4}" destId="{46D028C8-104A-48D1-8321-BD6A7C9B432F}" srcOrd="1" destOrd="0" presId="urn:microsoft.com/office/officeart/2005/8/layout/orgChart1"/>
    <dgm:cxn modelId="{37B1C33E-8DE8-47A8-9973-6B86981D889B}" type="presParOf" srcId="{66E01E8D-8400-4B53-B6C5-C51F5CDD50E4}" destId="{9C755C72-41E0-4C94-ABE6-0E90DB30CA35}" srcOrd="2" destOrd="0" presId="urn:microsoft.com/office/officeart/2005/8/layout/orgChart1"/>
    <dgm:cxn modelId="{9C016FCB-DB42-4443-8CAE-E0E734B44AAC}" type="presParOf" srcId="{17D3F377-1807-4BC6-B530-DF411055746D}" destId="{5B5D4ED6-174E-403B-A115-EAAB218DDC99}" srcOrd="2" destOrd="0" presId="urn:microsoft.com/office/officeart/2005/8/layout/orgChart1"/>
    <dgm:cxn modelId="{B5185401-29BF-479E-BD7B-F4007AD67B54}" type="presParOf" srcId="{B7701242-17D1-4310-93FB-498D5CB7EDCD}" destId="{307B3BDB-DEA8-45C9-9DAF-A7EE0CECB742}" srcOrd="8" destOrd="0" presId="urn:microsoft.com/office/officeart/2005/8/layout/orgChart1"/>
    <dgm:cxn modelId="{8F0FDFB7-8B93-4CCF-A5C1-B66FC92DD08B}" type="presParOf" srcId="{B7701242-17D1-4310-93FB-498D5CB7EDCD}" destId="{ABC294E1-4665-4D28-A5B1-FB652F46E4B0}" srcOrd="9" destOrd="0" presId="urn:microsoft.com/office/officeart/2005/8/layout/orgChart1"/>
    <dgm:cxn modelId="{92201621-CFAC-4B16-8167-9932431F5C17}" type="presParOf" srcId="{ABC294E1-4665-4D28-A5B1-FB652F46E4B0}" destId="{C99AE37D-B15F-4485-A818-603CB2E9F611}" srcOrd="0" destOrd="0" presId="urn:microsoft.com/office/officeart/2005/8/layout/orgChart1"/>
    <dgm:cxn modelId="{DEDBBA81-4200-423E-AE3D-F61715A822E2}" type="presParOf" srcId="{C99AE37D-B15F-4485-A818-603CB2E9F611}" destId="{AA80021D-763D-4AB2-BA4B-E41686055537}" srcOrd="0" destOrd="0" presId="urn:microsoft.com/office/officeart/2005/8/layout/orgChart1"/>
    <dgm:cxn modelId="{9A61CFDF-B66B-42D4-B594-C57A44F28677}" type="presParOf" srcId="{C99AE37D-B15F-4485-A818-603CB2E9F611}" destId="{BD5C1E64-D586-45E8-A603-C4E63DDC4D69}" srcOrd="1" destOrd="0" presId="urn:microsoft.com/office/officeart/2005/8/layout/orgChart1"/>
    <dgm:cxn modelId="{5A5A9C78-9735-4820-B9E4-5D0039F33956}" type="presParOf" srcId="{ABC294E1-4665-4D28-A5B1-FB652F46E4B0}" destId="{3202371E-0757-4C1C-A528-D4AE7EF5D503}" srcOrd="1" destOrd="0" presId="urn:microsoft.com/office/officeart/2005/8/layout/orgChart1"/>
    <dgm:cxn modelId="{1D1FBAC5-923B-4132-A521-AFAF2063FF44}" type="presParOf" srcId="{3202371E-0757-4C1C-A528-D4AE7EF5D503}" destId="{BC700996-9386-40C0-9D31-EF1E76489161}" srcOrd="0" destOrd="0" presId="urn:microsoft.com/office/officeart/2005/8/layout/orgChart1"/>
    <dgm:cxn modelId="{4A9C0CB2-5451-40A8-8871-926BFF12BB44}" type="presParOf" srcId="{3202371E-0757-4C1C-A528-D4AE7EF5D503}" destId="{8BB0FFCF-A792-4D31-896A-23EF0687B220}" srcOrd="1" destOrd="0" presId="urn:microsoft.com/office/officeart/2005/8/layout/orgChart1"/>
    <dgm:cxn modelId="{F891CF43-EFB5-4958-8AD4-EB0CE2AC14B9}" type="presParOf" srcId="{8BB0FFCF-A792-4D31-896A-23EF0687B220}" destId="{6B7CC57C-79C6-4EE6-86A3-2882A89BEAC2}" srcOrd="0" destOrd="0" presId="urn:microsoft.com/office/officeart/2005/8/layout/orgChart1"/>
    <dgm:cxn modelId="{9D4A82FC-7C91-491F-A3F7-4722CD607411}" type="presParOf" srcId="{6B7CC57C-79C6-4EE6-86A3-2882A89BEAC2}" destId="{CD8C5727-17E1-4C01-889D-1399E5F87BFF}" srcOrd="0" destOrd="0" presId="urn:microsoft.com/office/officeart/2005/8/layout/orgChart1"/>
    <dgm:cxn modelId="{9AB057D9-E95A-4B16-910D-F9B7EC7801D4}" type="presParOf" srcId="{6B7CC57C-79C6-4EE6-86A3-2882A89BEAC2}" destId="{6DF20CA2-E412-4614-92C7-00BB58B6982D}" srcOrd="1" destOrd="0" presId="urn:microsoft.com/office/officeart/2005/8/layout/orgChart1"/>
    <dgm:cxn modelId="{29E4CA73-B3AC-4EAF-B9FC-CC122D40D294}" type="presParOf" srcId="{8BB0FFCF-A792-4D31-896A-23EF0687B220}" destId="{9B306322-1E1C-4C92-B9EE-173630D0B692}" srcOrd="1" destOrd="0" presId="urn:microsoft.com/office/officeart/2005/8/layout/orgChart1"/>
    <dgm:cxn modelId="{0E8DB59E-6532-4970-A859-805541E74A14}" type="presParOf" srcId="{8BB0FFCF-A792-4D31-896A-23EF0687B220}" destId="{838CD919-6DDC-47AE-A4D1-528BBB53B56F}" srcOrd="2" destOrd="0" presId="urn:microsoft.com/office/officeart/2005/8/layout/orgChart1"/>
    <dgm:cxn modelId="{966E1C82-096A-4A57-9855-1032654C96B2}" type="presParOf" srcId="{3202371E-0757-4C1C-A528-D4AE7EF5D503}" destId="{64C7CDBA-D2F3-4375-B13E-20061C66663C}" srcOrd="2" destOrd="0" presId="urn:microsoft.com/office/officeart/2005/8/layout/orgChart1"/>
    <dgm:cxn modelId="{CEE39862-F09E-4705-B77F-47A9ABEA7219}" type="presParOf" srcId="{3202371E-0757-4C1C-A528-D4AE7EF5D503}" destId="{B9E6FA4D-C6D2-49F0-9FFC-4EA788A325EA}" srcOrd="3" destOrd="0" presId="urn:microsoft.com/office/officeart/2005/8/layout/orgChart1"/>
    <dgm:cxn modelId="{1DCD3D07-00E9-4907-A6D4-2110C09AC9C9}" type="presParOf" srcId="{B9E6FA4D-C6D2-49F0-9FFC-4EA788A325EA}" destId="{E25F2C6D-12D5-4EDD-87BB-30924DF406DB}" srcOrd="0" destOrd="0" presId="urn:microsoft.com/office/officeart/2005/8/layout/orgChart1"/>
    <dgm:cxn modelId="{A0260321-DE1A-4879-AFA0-92780C7027FB}" type="presParOf" srcId="{E25F2C6D-12D5-4EDD-87BB-30924DF406DB}" destId="{7625DEBB-E5DE-46CF-8847-51930CD4B68F}" srcOrd="0" destOrd="0" presId="urn:microsoft.com/office/officeart/2005/8/layout/orgChart1"/>
    <dgm:cxn modelId="{A747A55B-24B1-4EFF-B183-C0FE9E5EED3C}" type="presParOf" srcId="{E25F2C6D-12D5-4EDD-87BB-30924DF406DB}" destId="{1DAFB3BE-661C-4BCA-ADC7-B2B0DAA3B144}" srcOrd="1" destOrd="0" presId="urn:microsoft.com/office/officeart/2005/8/layout/orgChart1"/>
    <dgm:cxn modelId="{CFBFBE68-1560-4F7A-8022-B19ECE8F0EE6}" type="presParOf" srcId="{B9E6FA4D-C6D2-49F0-9FFC-4EA788A325EA}" destId="{8641F138-4FA1-403C-9B50-0F11600182C0}" srcOrd="1" destOrd="0" presId="urn:microsoft.com/office/officeart/2005/8/layout/orgChart1"/>
    <dgm:cxn modelId="{9C79A3DF-BBBB-4A5C-B380-DD72B74BB045}" type="presParOf" srcId="{B9E6FA4D-C6D2-49F0-9FFC-4EA788A325EA}" destId="{AB8489D8-DA79-4C35-9AEC-22FE90BCC400}" srcOrd="2" destOrd="0" presId="urn:microsoft.com/office/officeart/2005/8/layout/orgChart1"/>
    <dgm:cxn modelId="{1ECDBD22-CA85-4717-97F0-45AAF3974BFA}" type="presParOf" srcId="{3202371E-0757-4C1C-A528-D4AE7EF5D503}" destId="{02B80E26-CC81-4B24-A567-B4119DC9ECCA}" srcOrd="4" destOrd="0" presId="urn:microsoft.com/office/officeart/2005/8/layout/orgChart1"/>
    <dgm:cxn modelId="{EFFEC182-0FC0-49AD-BE34-06F104E4C377}" type="presParOf" srcId="{3202371E-0757-4C1C-A528-D4AE7EF5D503}" destId="{8BCA9864-2C8A-4A68-877B-DD835B1D2896}" srcOrd="5" destOrd="0" presId="urn:microsoft.com/office/officeart/2005/8/layout/orgChart1"/>
    <dgm:cxn modelId="{7DE9C95C-2318-4D23-B559-477AF1380E96}" type="presParOf" srcId="{8BCA9864-2C8A-4A68-877B-DD835B1D2896}" destId="{4100E7C6-49B3-432E-A899-1DDD2C95A5C7}" srcOrd="0" destOrd="0" presId="urn:microsoft.com/office/officeart/2005/8/layout/orgChart1"/>
    <dgm:cxn modelId="{1A7341D9-8C5B-443C-BE0E-BDB7E50217C5}" type="presParOf" srcId="{4100E7C6-49B3-432E-A899-1DDD2C95A5C7}" destId="{B02920AB-A51C-49AD-B671-94EF108A5FF0}" srcOrd="0" destOrd="0" presId="urn:microsoft.com/office/officeart/2005/8/layout/orgChart1"/>
    <dgm:cxn modelId="{ED5A8296-9277-4912-8A97-0EA2CEF792ED}" type="presParOf" srcId="{4100E7C6-49B3-432E-A899-1DDD2C95A5C7}" destId="{4DAD716F-A49B-41B2-AA5E-2A3E362DE63D}" srcOrd="1" destOrd="0" presId="urn:microsoft.com/office/officeart/2005/8/layout/orgChart1"/>
    <dgm:cxn modelId="{9623BDB8-DA3B-4AEA-AEB9-47A2ECBDD605}" type="presParOf" srcId="{8BCA9864-2C8A-4A68-877B-DD835B1D2896}" destId="{E64DB258-B001-4AE3-8B7C-B2257A9127A6}" srcOrd="1" destOrd="0" presId="urn:microsoft.com/office/officeart/2005/8/layout/orgChart1"/>
    <dgm:cxn modelId="{D169A750-C772-476A-A3B5-F74C8B43AC8D}" type="presParOf" srcId="{8BCA9864-2C8A-4A68-877B-DD835B1D2896}" destId="{A433D6EC-E12E-471D-A7AB-035C3CF7DF88}" srcOrd="2" destOrd="0" presId="urn:microsoft.com/office/officeart/2005/8/layout/orgChart1"/>
    <dgm:cxn modelId="{E02F294C-91AC-49A8-AAE9-4A88C1F6FE1E}" type="presParOf" srcId="{ABC294E1-4665-4D28-A5B1-FB652F46E4B0}" destId="{5A38261A-A6C9-4043-BD67-DE97E54D03CD}" srcOrd="2" destOrd="0" presId="urn:microsoft.com/office/officeart/2005/8/layout/orgChart1"/>
    <dgm:cxn modelId="{24BD3A8D-AEA3-4125-AF6F-16FE790E50E6}" type="presParOf" srcId="{B7701242-17D1-4310-93FB-498D5CB7EDCD}" destId="{4AD94EBF-A6EF-4223-B774-C462A5291518}" srcOrd="10" destOrd="0" presId="urn:microsoft.com/office/officeart/2005/8/layout/orgChart1"/>
    <dgm:cxn modelId="{3CD6028A-329B-421E-9AD9-596B93908315}" type="presParOf" srcId="{B7701242-17D1-4310-93FB-498D5CB7EDCD}" destId="{CB0E3585-A545-429B-B660-8A71B3BFBEB8}" srcOrd="11" destOrd="0" presId="urn:microsoft.com/office/officeart/2005/8/layout/orgChart1"/>
    <dgm:cxn modelId="{AEF6210E-3863-4078-9082-F74F0C26F46C}" type="presParOf" srcId="{CB0E3585-A545-429B-B660-8A71B3BFBEB8}" destId="{2A87C46F-7474-4443-8002-A0491C4E6078}" srcOrd="0" destOrd="0" presId="urn:microsoft.com/office/officeart/2005/8/layout/orgChart1"/>
    <dgm:cxn modelId="{603DD219-A844-4CD0-83F9-50CBB5F21090}" type="presParOf" srcId="{2A87C46F-7474-4443-8002-A0491C4E6078}" destId="{DE8C2C0A-505A-4D37-A80B-5982F99E6A08}" srcOrd="0" destOrd="0" presId="urn:microsoft.com/office/officeart/2005/8/layout/orgChart1"/>
    <dgm:cxn modelId="{C21BB705-B782-45BD-9F0B-A3040C8BEE56}" type="presParOf" srcId="{2A87C46F-7474-4443-8002-A0491C4E6078}" destId="{862E3047-03CE-4E2E-B728-96A1BED60C02}" srcOrd="1" destOrd="0" presId="urn:microsoft.com/office/officeart/2005/8/layout/orgChart1"/>
    <dgm:cxn modelId="{85E7015A-322C-47AD-908B-1A7436DE6559}" type="presParOf" srcId="{CB0E3585-A545-429B-B660-8A71B3BFBEB8}" destId="{67B2D44B-9736-4E5E-9A4F-A41088464200}" srcOrd="1" destOrd="0" presId="urn:microsoft.com/office/officeart/2005/8/layout/orgChart1"/>
    <dgm:cxn modelId="{F2F1DA4C-9DAC-4F74-83F6-392B7975E4D4}" type="presParOf" srcId="{67B2D44B-9736-4E5E-9A4F-A41088464200}" destId="{89D34678-321F-4032-8782-05F3670A4323}" srcOrd="0" destOrd="0" presId="urn:microsoft.com/office/officeart/2005/8/layout/orgChart1"/>
    <dgm:cxn modelId="{A4F63818-A41D-4A2C-9423-B6FE2E50A9E7}" type="presParOf" srcId="{67B2D44B-9736-4E5E-9A4F-A41088464200}" destId="{125EFEC2-BE2C-4197-B10F-D605057E4B20}" srcOrd="1" destOrd="0" presId="urn:microsoft.com/office/officeart/2005/8/layout/orgChart1"/>
    <dgm:cxn modelId="{A68D785E-FB45-4162-83FB-751E0B1ECE0F}" type="presParOf" srcId="{125EFEC2-BE2C-4197-B10F-D605057E4B20}" destId="{FA4814E1-5335-4AA5-A892-AE1400A02480}" srcOrd="0" destOrd="0" presId="urn:microsoft.com/office/officeart/2005/8/layout/orgChart1"/>
    <dgm:cxn modelId="{26AC0343-7F71-41F2-A052-B9DC80C2FE6D}" type="presParOf" srcId="{FA4814E1-5335-4AA5-A892-AE1400A02480}" destId="{2DD2FBDE-3AE7-4A6D-AA0C-BDF01D5B4891}" srcOrd="0" destOrd="0" presId="urn:microsoft.com/office/officeart/2005/8/layout/orgChart1"/>
    <dgm:cxn modelId="{B78DDF5C-195A-4C7C-80DA-F48446295E7E}" type="presParOf" srcId="{FA4814E1-5335-4AA5-A892-AE1400A02480}" destId="{AF306531-2FB5-4E57-8024-BE557E5F9461}" srcOrd="1" destOrd="0" presId="urn:microsoft.com/office/officeart/2005/8/layout/orgChart1"/>
    <dgm:cxn modelId="{AE6503E6-B69B-45D6-9AAF-0B3CA44266F1}" type="presParOf" srcId="{125EFEC2-BE2C-4197-B10F-D605057E4B20}" destId="{485F1A5B-6764-4341-8EBB-401CBFA78D31}" srcOrd="1" destOrd="0" presId="urn:microsoft.com/office/officeart/2005/8/layout/orgChart1"/>
    <dgm:cxn modelId="{F065D545-0128-4A7D-8BDD-A3650954FA74}" type="presParOf" srcId="{125EFEC2-BE2C-4197-B10F-D605057E4B20}" destId="{2F483EAD-A1ED-4C2B-AA79-A9E3984916CD}" srcOrd="2" destOrd="0" presId="urn:microsoft.com/office/officeart/2005/8/layout/orgChart1"/>
    <dgm:cxn modelId="{C05407BA-45BE-452D-ADC8-2BC3DC4E58B1}" type="presParOf" srcId="{67B2D44B-9736-4E5E-9A4F-A41088464200}" destId="{4A672035-6A5A-43B5-908F-0F936B60DE9B}" srcOrd="2" destOrd="0" presId="urn:microsoft.com/office/officeart/2005/8/layout/orgChart1"/>
    <dgm:cxn modelId="{7BF8F8C8-E0B0-44E0-BFC2-6F31FE6127DE}" type="presParOf" srcId="{67B2D44B-9736-4E5E-9A4F-A41088464200}" destId="{DD370D89-EC1E-423A-94E0-8C069339A8F8}" srcOrd="3" destOrd="0" presId="urn:microsoft.com/office/officeart/2005/8/layout/orgChart1"/>
    <dgm:cxn modelId="{FC7D184E-39FC-432C-A43C-A16D41EF01CB}" type="presParOf" srcId="{DD370D89-EC1E-423A-94E0-8C069339A8F8}" destId="{481372D1-27CF-4919-B480-2C38AF14EEC9}" srcOrd="0" destOrd="0" presId="urn:microsoft.com/office/officeart/2005/8/layout/orgChart1"/>
    <dgm:cxn modelId="{367A6782-8AD8-4553-84EB-F604EC40DEA5}" type="presParOf" srcId="{481372D1-27CF-4919-B480-2C38AF14EEC9}" destId="{30B11FE5-725A-47D5-97FC-705BF2685466}" srcOrd="0" destOrd="0" presId="urn:microsoft.com/office/officeart/2005/8/layout/orgChart1"/>
    <dgm:cxn modelId="{6BB1F58A-5D61-468F-A282-FD782DF5F44F}" type="presParOf" srcId="{481372D1-27CF-4919-B480-2C38AF14EEC9}" destId="{5BCEEF4D-308C-4184-A16C-A1655F3AB993}" srcOrd="1" destOrd="0" presId="urn:microsoft.com/office/officeart/2005/8/layout/orgChart1"/>
    <dgm:cxn modelId="{5A990D08-22F0-4793-8E2A-31FE82618019}" type="presParOf" srcId="{DD370D89-EC1E-423A-94E0-8C069339A8F8}" destId="{01864A0A-F21E-4FED-924C-9A449CF3D9C5}" srcOrd="1" destOrd="0" presId="urn:microsoft.com/office/officeart/2005/8/layout/orgChart1"/>
    <dgm:cxn modelId="{2240393C-702F-4F9A-9D9E-6DAE3ECE904B}" type="presParOf" srcId="{DD370D89-EC1E-423A-94E0-8C069339A8F8}" destId="{984B0EFC-2A3E-4AE2-A3BF-7C1EE3F0030E}" srcOrd="2" destOrd="0" presId="urn:microsoft.com/office/officeart/2005/8/layout/orgChart1"/>
    <dgm:cxn modelId="{A9C00EE1-6AEE-4299-BC66-24A3BBD51A5D}" type="presParOf" srcId="{67B2D44B-9736-4E5E-9A4F-A41088464200}" destId="{D65A79E5-239A-4D79-94CF-72FF452E0754}" srcOrd="4" destOrd="0" presId="urn:microsoft.com/office/officeart/2005/8/layout/orgChart1"/>
    <dgm:cxn modelId="{79F8856E-C51D-45DA-A97B-47D2B3A280B9}" type="presParOf" srcId="{67B2D44B-9736-4E5E-9A4F-A41088464200}" destId="{BB8C007A-2DD0-4AE6-8E38-B0C6DECA72E3}" srcOrd="5" destOrd="0" presId="urn:microsoft.com/office/officeart/2005/8/layout/orgChart1"/>
    <dgm:cxn modelId="{62CB615D-B9A6-4FC4-B3F9-A211181BF215}" type="presParOf" srcId="{BB8C007A-2DD0-4AE6-8E38-B0C6DECA72E3}" destId="{2E7E1321-5029-4491-B87F-A9D718974262}" srcOrd="0" destOrd="0" presId="urn:microsoft.com/office/officeart/2005/8/layout/orgChart1"/>
    <dgm:cxn modelId="{88EE1F74-66D7-41D5-AACF-9735C47B8675}" type="presParOf" srcId="{2E7E1321-5029-4491-B87F-A9D718974262}" destId="{F7B96D91-0A06-4569-8DA1-0DD58E41320D}" srcOrd="0" destOrd="0" presId="urn:microsoft.com/office/officeart/2005/8/layout/orgChart1"/>
    <dgm:cxn modelId="{A3783684-4C18-4C6B-BD42-FD1F72C9078A}" type="presParOf" srcId="{2E7E1321-5029-4491-B87F-A9D718974262}" destId="{D648E467-D262-47AB-AD53-CE2783AA9F73}" srcOrd="1" destOrd="0" presId="urn:microsoft.com/office/officeart/2005/8/layout/orgChart1"/>
    <dgm:cxn modelId="{C22ED8E3-6640-4E9F-90A7-48079F8B7A34}" type="presParOf" srcId="{BB8C007A-2DD0-4AE6-8E38-B0C6DECA72E3}" destId="{98EF2818-F637-4D51-874B-55449D8C8E89}" srcOrd="1" destOrd="0" presId="urn:microsoft.com/office/officeart/2005/8/layout/orgChart1"/>
    <dgm:cxn modelId="{9135E549-6569-4459-8185-89E7BFC00554}" type="presParOf" srcId="{BB8C007A-2DD0-4AE6-8E38-B0C6DECA72E3}" destId="{CFE8E490-5DF2-4950-BFF2-DEF9B410D22D}" srcOrd="2" destOrd="0" presId="urn:microsoft.com/office/officeart/2005/8/layout/orgChart1"/>
    <dgm:cxn modelId="{F31EDC45-9189-4D48-A205-83620A756071}" type="presParOf" srcId="{67B2D44B-9736-4E5E-9A4F-A41088464200}" destId="{69A2127D-7E73-4C2B-86C3-7BB8FDCCF216}" srcOrd="6" destOrd="0" presId="urn:microsoft.com/office/officeart/2005/8/layout/orgChart1"/>
    <dgm:cxn modelId="{6B470841-3B1F-48BA-97FC-4E29EE80BCD3}" type="presParOf" srcId="{67B2D44B-9736-4E5E-9A4F-A41088464200}" destId="{A5F645E6-796D-4C5C-BF18-E024C7E78050}" srcOrd="7" destOrd="0" presId="urn:microsoft.com/office/officeart/2005/8/layout/orgChart1"/>
    <dgm:cxn modelId="{29DDA56B-DE0C-491B-85E7-EDD5080ACA6C}" type="presParOf" srcId="{A5F645E6-796D-4C5C-BF18-E024C7E78050}" destId="{E1108D8D-687E-489B-9B10-E1F8E72BC1D2}" srcOrd="0" destOrd="0" presId="urn:microsoft.com/office/officeart/2005/8/layout/orgChart1"/>
    <dgm:cxn modelId="{B9976585-8A90-47B5-B93A-B8952C0BC445}" type="presParOf" srcId="{E1108D8D-687E-489B-9B10-E1F8E72BC1D2}" destId="{64A5788C-C4D3-4252-B0F0-BA93CE75C7C6}" srcOrd="0" destOrd="0" presId="urn:microsoft.com/office/officeart/2005/8/layout/orgChart1"/>
    <dgm:cxn modelId="{FF6CA943-D3CF-4DE7-A161-3B6584BAB0CA}" type="presParOf" srcId="{E1108D8D-687E-489B-9B10-E1F8E72BC1D2}" destId="{CB79FF67-4356-49C0-A2D0-43E4F34C8871}" srcOrd="1" destOrd="0" presId="urn:microsoft.com/office/officeart/2005/8/layout/orgChart1"/>
    <dgm:cxn modelId="{AA8949E4-2919-49C4-A31C-B547C7D45D7B}" type="presParOf" srcId="{A5F645E6-796D-4C5C-BF18-E024C7E78050}" destId="{4EC724CA-1CEE-4DBB-B667-20BE35659D8A}" srcOrd="1" destOrd="0" presId="urn:microsoft.com/office/officeart/2005/8/layout/orgChart1"/>
    <dgm:cxn modelId="{9AE82F5A-B9C3-4BE9-BAA6-821BAA62CC5F}" type="presParOf" srcId="{A5F645E6-796D-4C5C-BF18-E024C7E78050}" destId="{8E4D1F85-28B6-4C4C-BA7A-9B7B0005D72D}" srcOrd="2" destOrd="0" presId="urn:microsoft.com/office/officeart/2005/8/layout/orgChart1"/>
    <dgm:cxn modelId="{DC573578-2B78-4DE5-90E8-699E1B83D792}" type="presParOf" srcId="{67B2D44B-9736-4E5E-9A4F-A41088464200}" destId="{A023D21B-16FB-4076-891C-C75C13B4AC10}" srcOrd="8" destOrd="0" presId="urn:microsoft.com/office/officeart/2005/8/layout/orgChart1"/>
    <dgm:cxn modelId="{3D7C1670-9B5C-4489-A6D0-412261F735D8}" type="presParOf" srcId="{67B2D44B-9736-4E5E-9A4F-A41088464200}" destId="{66CAEC06-8C99-4427-87A6-89D206839F8D}" srcOrd="9" destOrd="0" presId="urn:microsoft.com/office/officeart/2005/8/layout/orgChart1"/>
    <dgm:cxn modelId="{F9356E89-FBBB-44F4-BAD3-241FDF4C1515}" type="presParOf" srcId="{66CAEC06-8C99-4427-87A6-89D206839F8D}" destId="{9105F134-AB9E-4F21-BF95-6FC1F5C1E33B}" srcOrd="0" destOrd="0" presId="urn:microsoft.com/office/officeart/2005/8/layout/orgChart1"/>
    <dgm:cxn modelId="{54B83D10-0F53-4711-8DBC-13023B693B17}" type="presParOf" srcId="{9105F134-AB9E-4F21-BF95-6FC1F5C1E33B}" destId="{B6C28424-A23B-4F8F-A481-FAA585EFEEEE}" srcOrd="0" destOrd="0" presId="urn:microsoft.com/office/officeart/2005/8/layout/orgChart1"/>
    <dgm:cxn modelId="{4A3D335E-7A2B-4AC4-94A8-59F834B89819}" type="presParOf" srcId="{9105F134-AB9E-4F21-BF95-6FC1F5C1E33B}" destId="{60841EC8-F190-4F0D-93CE-A12D1A931B19}" srcOrd="1" destOrd="0" presId="urn:microsoft.com/office/officeart/2005/8/layout/orgChart1"/>
    <dgm:cxn modelId="{B75D25C5-74B3-4DFE-AE16-DB9D697125A5}" type="presParOf" srcId="{66CAEC06-8C99-4427-87A6-89D206839F8D}" destId="{FFF2887A-4694-4423-BA97-0EBBFE3D2228}" srcOrd="1" destOrd="0" presId="urn:microsoft.com/office/officeart/2005/8/layout/orgChart1"/>
    <dgm:cxn modelId="{41154E6F-68D5-4F85-811F-122014808F15}" type="presParOf" srcId="{66CAEC06-8C99-4427-87A6-89D206839F8D}" destId="{8FC6BB55-08CB-4582-835C-F7309448F1C6}" srcOrd="2" destOrd="0" presId="urn:microsoft.com/office/officeart/2005/8/layout/orgChart1"/>
    <dgm:cxn modelId="{87C54213-6841-43D2-9F67-9E584DC56917}" type="presParOf" srcId="{CB0E3585-A545-429B-B660-8A71B3BFBEB8}" destId="{4D9C9C38-FCD1-4A52-8665-AA40EA0263F3}" srcOrd="2" destOrd="0" presId="urn:microsoft.com/office/officeart/2005/8/layout/orgChart1"/>
    <dgm:cxn modelId="{9B35FDA8-6FA6-4F62-8A80-8243517D1B09}" type="presParOf" srcId="{B7701242-17D1-4310-93FB-498D5CB7EDCD}" destId="{1AE62F4A-F828-43CD-9443-CED4E6655247}" srcOrd="12" destOrd="0" presId="urn:microsoft.com/office/officeart/2005/8/layout/orgChart1"/>
    <dgm:cxn modelId="{ABFDB904-DD44-49AE-9C42-B13D07243D83}" type="presParOf" srcId="{B7701242-17D1-4310-93FB-498D5CB7EDCD}" destId="{5A1EA9F7-A1C0-4805-9933-AA475890BCAA}" srcOrd="13" destOrd="0" presId="urn:microsoft.com/office/officeart/2005/8/layout/orgChart1"/>
    <dgm:cxn modelId="{F6F5AC59-1968-40A6-B00B-B99994FC5773}" type="presParOf" srcId="{5A1EA9F7-A1C0-4805-9933-AA475890BCAA}" destId="{75485DD8-5E05-44E8-BF05-1FFCFDAE602B}" srcOrd="0" destOrd="0" presId="urn:microsoft.com/office/officeart/2005/8/layout/orgChart1"/>
    <dgm:cxn modelId="{ED7F8020-D143-44F5-B234-744CCD91461D}" type="presParOf" srcId="{75485DD8-5E05-44E8-BF05-1FFCFDAE602B}" destId="{9004CD8F-521F-48BB-B1A8-4751D7BC4C81}" srcOrd="0" destOrd="0" presId="urn:microsoft.com/office/officeart/2005/8/layout/orgChart1"/>
    <dgm:cxn modelId="{CB3E9737-71FF-422C-B1AA-2A30E49E7CBE}" type="presParOf" srcId="{75485DD8-5E05-44E8-BF05-1FFCFDAE602B}" destId="{E8C45A1D-CD2C-4BD0-88E3-5854304CD890}" srcOrd="1" destOrd="0" presId="urn:microsoft.com/office/officeart/2005/8/layout/orgChart1"/>
    <dgm:cxn modelId="{5FF0A36A-9B4B-4781-BCD9-295D5D64F23D}" type="presParOf" srcId="{5A1EA9F7-A1C0-4805-9933-AA475890BCAA}" destId="{1922716F-BD9E-4422-A7D9-983BB5D1CED7}" srcOrd="1" destOrd="0" presId="urn:microsoft.com/office/officeart/2005/8/layout/orgChart1"/>
    <dgm:cxn modelId="{99D87A3E-63D6-44B1-BD27-7CA3A3A59E40}" type="presParOf" srcId="{1922716F-BD9E-4422-A7D9-983BB5D1CED7}" destId="{D3A60B08-7E6F-47C1-A168-C224FF6D7F07}" srcOrd="0" destOrd="0" presId="urn:microsoft.com/office/officeart/2005/8/layout/orgChart1"/>
    <dgm:cxn modelId="{290D2BED-063F-4A32-9C56-968E4D15E97D}" type="presParOf" srcId="{1922716F-BD9E-4422-A7D9-983BB5D1CED7}" destId="{211E8BD2-821E-4571-8A90-E12D25750E93}" srcOrd="1" destOrd="0" presId="urn:microsoft.com/office/officeart/2005/8/layout/orgChart1"/>
    <dgm:cxn modelId="{E49BD95D-0C7E-4A14-A020-859E049E9E38}" type="presParOf" srcId="{211E8BD2-821E-4571-8A90-E12D25750E93}" destId="{146C0E60-54A1-493A-BD9E-D094AD0145D5}" srcOrd="0" destOrd="0" presId="urn:microsoft.com/office/officeart/2005/8/layout/orgChart1"/>
    <dgm:cxn modelId="{70EA6B02-A46B-432A-886D-D06C74C479A1}" type="presParOf" srcId="{146C0E60-54A1-493A-BD9E-D094AD0145D5}" destId="{F0059663-D3E6-4DE2-BC49-B080D7611536}" srcOrd="0" destOrd="0" presId="urn:microsoft.com/office/officeart/2005/8/layout/orgChart1"/>
    <dgm:cxn modelId="{E75FD6E6-2DA1-487C-9AB0-E1737D0A0F1A}" type="presParOf" srcId="{146C0E60-54A1-493A-BD9E-D094AD0145D5}" destId="{CD18A902-B0BA-47F7-A0C0-BB032A109A8D}" srcOrd="1" destOrd="0" presId="urn:microsoft.com/office/officeart/2005/8/layout/orgChart1"/>
    <dgm:cxn modelId="{D3E0DD12-B04C-4FB9-BD0C-D3F64606C47D}" type="presParOf" srcId="{211E8BD2-821E-4571-8A90-E12D25750E93}" destId="{B7961FD6-3FEF-4EBC-A971-A8508E5FE962}" srcOrd="1" destOrd="0" presId="urn:microsoft.com/office/officeart/2005/8/layout/orgChart1"/>
    <dgm:cxn modelId="{AA1DC5A7-7A78-4B71-B688-F49858E60E65}" type="presParOf" srcId="{211E8BD2-821E-4571-8A90-E12D25750E93}" destId="{D2C9F1A8-99BD-4A51-AF38-10627DF8E024}" srcOrd="2" destOrd="0" presId="urn:microsoft.com/office/officeart/2005/8/layout/orgChart1"/>
    <dgm:cxn modelId="{745BFAE0-3C1E-4C05-99A9-8A44CF213DE2}" type="presParOf" srcId="{1922716F-BD9E-4422-A7D9-983BB5D1CED7}" destId="{6CB065FB-EC73-4365-A1E6-F84A2D8A75FE}" srcOrd="2" destOrd="0" presId="urn:microsoft.com/office/officeart/2005/8/layout/orgChart1"/>
    <dgm:cxn modelId="{9BE0B861-4206-49BF-A5F6-14E02F2B770E}" type="presParOf" srcId="{1922716F-BD9E-4422-A7D9-983BB5D1CED7}" destId="{066D9DDA-8CF5-45C3-BAC9-A8A2B99107B3}" srcOrd="3" destOrd="0" presId="urn:microsoft.com/office/officeart/2005/8/layout/orgChart1"/>
    <dgm:cxn modelId="{79FF2A4B-77D0-4376-9A34-03D9AB798DB7}" type="presParOf" srcId="{066D9DDA-8CF5-45C3-BAC9-A8A2B99107B3}" destId="{0EB13D21-1A4C-4233-8D5D-D67B33B54DA6}" srcOrd="0" destOrd="0" presId="urn:microsoft.com/office/officeart/2005/8/layout/orgChart1"/>
    <dgm:cxn modelId="{C84CA9BA-AAF6-4037-A893-DBD63F2DFFAB}" type="presParOf" srcId="{0EB13D21-1A4C-4233-8D5D-D67B33B54DA6}" destId="{17642A7F-C60C-44D6-ABB9-1B18A75FEB90}" srcOrd="0" destOrd="0" presId="urn:microsoft.com/office/officeart/2005/8/layout/orgChart1"/>
    <dgm:cxn modelId="{FF13C56A-0779-416E-ABB1-ABAF94EB3E4C}" type="presParOf" srcId="{0EB13D21-1A4C-4233-8D5D-D67B33B54DA6}" destId="{46F99FC4-A571-4DB1-927C-346FD23B395E}" srcOrd="1" destOrd="0" presId="urn:microsoft.com/office/officeart/2005/8/layout/orgChart1"/>
    <dgm:cxn modelId="{6B1E583A-09FF-4D98-96EE-5040058B45C1}" type="presParOf" srcId="{066D9DDA-8CF5-45C3-BAC9-A8A2B99107B3}" destId="{AF43317B-FE13-46F5-A63B-6465DE665A1D}" srcOrd="1" destOrd="0" presId="urn:microsoft.com/office/officeart/2005/8/layout/orgChart1"/>
    <dgm:cxn modelId="{C571C5A6-7442-4191-97AA-AF93851406DE}" type="presParOf" srcId="{066D9DDA-8CF5-45C3-BAC9-A8A2B99107B3}" destId="{0F99BDAD-9ECF-4F4A-AA90-C9F2B37DE205}" srcOrd="2" destOrd="0" presId="urn:microsoft.com/office/officeart/2005/8/layout/orgChart1"/>
    <dgm:cxn modelId="{F803FEFE-B598-4A1A-A26D-F6A248DFF0A0}" type="presParOf" srcId="{1922716F-BD9E-4422-A7D9-983BB5D1CED7}" destId="{D0F2D0A0-4967-4D85-8D0C-97FAD74AF481}" srcOrd="4" destOrd="0" presId="urn:microsoft.com/office/officeart/2005/8/layout/orgChart1"/>
    <dgm:cxn modelId="{37E2C7D5-2290-4C93-AB0D-70F199F0B6F6}" type="presParOf" srcId="{1922716F-BD9E-4422-A7D9-983BB5D1CED7}" destId="{F3D3E59F-E648-42B9-8866-4FCB6B91D09B}" srcOrd="5" destOrd="0" presId="urn:microsoft.com/office/officeart/2005/8/layout/orgChart1"/>
    <dgm:cxn modelId="{490C5AD8-864D-40A1-BAC6-2B15C35817AB}" type="presParOf" srcId="{F3D3E59F-E648-42B9-8866-4FCB6B91D09B}" destId="{B432B2E2-0311-45D1-8455-8EFC8AD62F1D}" srcOrd="0" destOrd="0" presId="urn:microsoft.com/office/officeart/2005/8/layout/orgChart1"/>
    <dgm:cxn modelId="{A6FD89AD-22AA-4759-B6F3-FD8EFD2B245A}" type="presParOf" srcId="{B432B2E2-0311-45D1-8455-8EFC8AD62F1D}" destId="{69BB326F-E6DD-4078-A287-FC786B05584C}" srcOrd="0" destOrd="0" presId="urn:microsoft.com/office/officeart/2005/8/layout/orgChart1"/>
    <dgm:cxn modelId="{06F69A20-FE74-4A0C-AD2A-89F5D7D2C857}" type="presParOf" srcId="{B432B2E2-0311-45D1-8455-8EFC8AD62F1D}" destId="{E36E21B7-2582-41DA-9020-4F2B924D86C3}" srcOrd="1" destOrd="0" presId="urn:microsoft.com/office/officeart/2005/8/layout/orgChart1"/>
    <dgm:cxn modelId="{7C047CD9-6233-4658-92A0-CF69D8280DCA}" type="presParOf" srcId="{F3D3E59F-E648-42B9-8866-4FCB6B91D09B}" destId="{A205F8AA-9871-4D6D-BDB6-EC339A9D0EF4}" srcOrd="1" destOrd="0" presId="urn:microsoft.com/office/officeart/2005/8/layout/orgChart1"/>
    <dgm:cxn modelId="{DD93F9E4-02C5-4C6E-B12C-90CCECEFBB2D}" type="presParOf" srcId="{F3D3E59F-E648-42B9-8866-4FCB6B91D09B}" destId="{BE8ED005-22EA-4007-A02C-B8D87CF6BDE3}" srcOrd="2" destOrd="0" presId="urn:microsoft.com/office/officeart/2005/8/layout/orgChart1"/>
    <dgm:cxn modelId="{747311F3-84F8-451A-9EFA-815A27042013}" type="presParOf" srcId="{5A1EA9F7-A1C0-4805-9933-AA475890BCAA}" destId="{F2C25F47-126D-4A97-AE0C-28DED15E6F9B}" srcOrd="2" destOrd="0" presId="urn:microsoft.com/office/officeart/2005/8/layout/orgChart1"/>
    <dgm:cxn modelId="{C0544A60-41BC-40E3-A445-6CF76F96C347}" type="presParOf" srcId="{B7701242-17D1-4310-93FB-498D5CB7EDCD}" destId="{067FE705-6597-4F85-BEB2-F59D21507658}" srcOrd="14" destOrd="0" presId="urn:microsoft.com/office/officeart/2005/8/layout/orgChart1"/>
    <dgm:cxn modelId="{A53B47FC-54FA-4425-A61C-BD69B3761DBA}" type="presParOf" srcId="{B7701242-17D1-4310-93FB-498D5CB7EDCD}" destId="{9B10ACE1-DFFA-45D9-8700-BC2A3BEE48CA}" srcOrd="15" destOrd="0" presId="urn:microsoft.com/office/officeart/2005/8/layout/orgChart1"/>
    <dgm:cxn modelId="{89751770-C5C2-42E1-9295-C2D8F0031AFD}" type="presParOf" srcId="{9B10ACE1-DFFA-45D9-8700-BC2A3BEE48CA}" destId="{5C43B95C-8C97-4145-9570-803D67363D77}" srcOrd="0" destOrd="0" presId="urn:microsoft.com/office/officeart/2005/8/layout/orgChart1"/>
    <dgm:cxn modelId="{A83B63BD-AA83-4F4D-9388-554584969DEE}" type="presParOf" srcId="{5C43B95C-8C97-4145-9570-803D67363D77}" destId="{B9369C0E-00F2-4637-AA0F-07D8AD5387D3}" srcOrd="0" destOrd="0" presId="urn:microsoft.com/office/officeart/2005/8/layout/orgChart1"/>
    <dgm:cxn modelId="{C876869C-EBCB-4EA7-9346-B8238DD35351}" type="presParOf" srcId="{5C43B95C-8C97-4145-9570-803D67363D77}" destId="{595855D8-AC55-49E2-8E9D-9AF1D15CA087}" srcOrd="1" destOrd="0" presId="urn:microsoft.com/office/officeart/2005/8/layout/orgChart1"/>
    <dgm:cxn modelId="{FFBF3F78-57F5-4480-BB9C-B7CC32FE3237}" type="presParOf" srcId="{9B10ACE1-DFFA-45D9-8700-BC2A3BEE48CA}" destId="{5603CE40-143B-4884-9EDA-CBA2F3D6BCA6}" srcOrd="1" destOrd="0" presId="urn:microsoft.com/office/officeart/2005/8/layout/orgChart1"/>
    <dgm:cxn modelId="{C58C73CA-0CF6-4D4B-8E8F-FB0774E423DE}" type="presParOf" srcId="{5603CE40-143B-4884-9EDA-CBA2F3D6BCA6}" destId="{B7732A07-5B57-42A0-BDD2-677EE8942A38}" srcOrd="0" destOrd="0" presId="urn:microsoft.com/office/officeart/2005/8/layout/orgChart1"/>
    <dgm:cxn modelId="{56359ADE-F8EA-407E-B90F-24EBAD99097F}" type="presParOf" srcId="{5603CE40-143B-4884-9EDA-CBA2F3D6BCA6}" destId="{4DA3CDF9-83EE-4424-A395-2DB36CF57134}" srcOrd="1" destOrd="0" presId="urn:microsoft.com/office/officeart/2005/8/layout/orgChart1"/>
    <dgm:cxn modelId="{76FCBB54-9808-426E-97ED-907F9E7E316C}" type="presParOf" srcId="{4DA3CDF9-83EE-4424-A395-2DB36CF57134}" destId="{314CF6A6-E0B6-434F-8354-72FEEB5376AD}" srcOrd="0" destOrd="0" presId="urn:microsoft.com/office/officeart/2005/8/layout/orgChart1"/>
    <dgm:cxn modelId="{4547CFF7-586A-4398-AFC7-FE0099328429}" type="presParOf" srcId="{314CF6A6-E0B6-434F-8354-72FEEB5376AD}" destId="{B012D76E-3474-412C-9306-A45686A2EEE8}" srcOrd="0" destOrd="0" presId="urn:microsoft.com/office/officeart/2005/8/layout/orgChart1"/>
    <dgm:cxn modelId="{77AA3E27-7615-4F30-AF60-FA55808F7ED3}" type="presParOf" srcId="{314CF6A6-E0B6-434F-8354-72FEEB5376AD}" destId="{7F9C4629-8A86-4F7C-A540-47D1A2BD1B1D}" srcOrd="1" destOrd="0" presId="urn:microsoft.com/office/officeart/2005/8/layout/orgChart1"/>
    <dgm:cxn modelId="{2375F750-EF0F-4154-945F-8026500F4C80}" type="presParOf" srcId="{4DA3CDF9-83EE-4424-A395-2DB36CF57134}" destId="{8259420B-434E-4755-9C07-022D231DD236}" srcOrd="1" destOrd="0" presId="urn:microsoft.com/office/officeart/2005/8/layout/orgChart1"/>
    <dgm:cxn modelId="{DBFD9A5E-6B39-473C-8529-357BAB1C38D4}" type="presParOf" srcId="{4DA3CDF9-83EE-4424-A395-2DB36CF57134}" destId="{F17B4BA6-1332-41C5-8E89-F78C2340551D}" srcOrd="2" destOrd="0" presId="urn:microsoft.com/office/officeart/2005/8/layout/orgChart1"/>
    <dgm:cxn modelId="{3407DD1B-5F81-45F9-AD9C-2EE388328DB6}" type="presParOf" srcId="{5603CE40-143B-4884-9EDA-CBA2F3D6BCA6}" destId="{887A275A-D055-4A3D-9CE6-0D1640BC152B}" srcOrd="2" destOrd="0" presId="urn:microsoft.com/office/officeart/2005/8/layout/orgChart1"/>
    <dgm:cxn modelId="{1B9EEE29-6380-46C0-8DDE-DDA8F5F2DA90}" type="presParOf" srcId="{5603CE40-143B-4884-9EDA-CBA2F3D6BCA6}" destId="{DEA548D7-C45D-4C9E-AB6E-1F2C864A1FC6}" srcOrd="3" destOrd="0" presId="urn:microsoft.com/office/officeart/2005/8/layout/orgChart1"/>
    <dgm:cxn modelId="{CDA35818-77AE-45B2-906C-872500D2D9D7}" type="presParOf" srcId="{DEA548D7-C45D-4C9E-AB6E-1F2C864A1FC6}" destId="{0332E26D-1CB7-4DF9-B68E-1F7260B45ED9}" srcOrd="0" destOrd="0" presId="urn:microsoft.com/office/officeart/2005/8/layout/orgChart1"/>
    <dgm:cxn modelId="{08613ADD-954D-4095-A2DF-A06366A21937}" type="presParOf" srcId="{0332E26D-1CB7-4DF9-B68E-1F7260B45ED9}" destId="{6C9C5A7D-D53A-4B37-BDDE-04CB780779ED}" srcOrd="0" destOrd="0" presId="urn:microsoft.com/office/officeart/2005/8/layout/orgChart1"/>
    <dgm:cxn modelId="{DD544328-47A5-4C0A-AC34-A4631E2C5A7E}" type="presParOf" srcId="{0332E26D-1CB7-4DF9-B68E-1F7260B45ED9}" destId="{7961D2D5-82BB-4BE6-B6A7-B0B8FE5BAF57}" srcOrd="1" destOrd="0" presId="urn:microsoft.com/office/officeart/2005/8/layout/orgChart1"/>
    <dgm:cxn modelId="{0285B49C-6B25-46E1-9119-9BE43169F90A}" type="presParOf" srcId="{DEA548D7-C45D-4C9E-AB6E-1F2C864A1FC6}" destId="{C16F4304-E397-4A73-9BE9-2A46B8A5049D}" srcOrd="1" destOrd="0" presId="urn:microsoft.com/office/officeart/2005/8/layout/orgChart1"/>
    <dgm:cxn modelId="{50B0B94E-C659-4C0A-8469-B22AF177E89C}" type="presParOf" srcId="{DEA548D7-C45D-4C9E-AB6E-1F2C864A1FC6}" destId="{8F46946B-629E-4BB3-AE79-833D146CD96F}" srcOrd="2" destOrd="0" presId="urn:microsoft.com/office/officeart/2005/8/layout/orgChart1"/>
    <dgm:cxn modelId="{AB19F4AF-3DA9-4882-8CFE-8EE1CBC14F92}" type="presParOf" srcId="{9B10ACE1-DFFA-45D9-8700-BC2A3BEE48CA}" destId="{913130BA-7A0F-48F2-9A65-10DD08943137}" srcOrd="2" destOrd="0" presId="urn:microsoft.com/office/officeart/2005/8/layout/orgChart1"/>
    <dgm:cxn modelId="{0D03710C-D34E-42A0-856B-6BF369428BE8}" type="presParOf" srcId="{113FCB6D-3CC1-4EC2-A3D7-F740C54EE986}" destId="{F5F3754E-D186-451F-A3D0-E48822ADAA05}"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7A275A-D055-4A3D-9CE6-0D1640BC152B}">
      <dsp:nvSpPr>
        <dsp:cNvPr id="0" name=""/>
        <dsp:cNvSpPr/>
      </dsp:nvSpPr>
      <dsp:spPr>
        <a:xfrm>
          <a:off x="9989156"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B7732A07-5B57-42A0-BDD2-677EE8942A38}">
      <dsp:nvSpPr>
        <dsp:cNvPr id="0" name=""/>
        <dsp:cNvSpPr/>
      </dsp:nvSpPr>
      <dsp:spPr>
        <a:xfrm>
          <a:off x="9989156"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067FE705-6597-4F85-BEB2-F59D21507658}">
      <dsp:nvSpPr>
        <dsp:cNvPr id="0" name=""/>
        <dsp:cNvSpPr/>
      </dsp:nvSpPr>
      <dsp:spPr>
        <a:xfrm>
          <a:off x="5519993" y="741785"/>
          <a:ext cx="4935307" cy="244725"/>
        </a:xfrm>
        <a:custGeom>
          <a:avLst/>
          <a:gdLst/>
          <a:ahLst/>
          <a:cxnLst/>
          <a:rect l="0" t="0" r="0" b="0"/>
          <a:pathLst>
            <a:path>
              <a:moveTo>
                <a:pt x="0" y="0"/>
              </a:moveTo>
              <a:lnTo>
                <a:pt x="0" y="122362"/>
              </a:lnTo>
              <a:lnTo>
                <a:pt x="4935307" y="122362"/>
              </a:lnTo>
              <a:lnTo>
                <a:pt x="4935307"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D0F2D0A0-4967-4D85-8D0C-97FAD74AF481}">
      <dsp:nvSpPr>
        <dsp:cNvPr id="0" name=""/>
        <dsp:cNvSpPr/>
      </dsp:nvSpPr>
      <dsp:spPr>
        <a:xfrm>
          <a:off x="8579068"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6CB065FB-EC73-4365-A1E6-F84A2D8A75FE}">
      <dsp:nvSpPr>
        <dsp:cNvPr id="0" name=""/>
        <dsp:cNvSpPr/>
      </dsp:nvSpPr>
      <dsp:spPr>
        <a:xfrm>
          <a:off x="8579068"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D3A60B08-7E6F-47C1-A168-C224FF6D7F07}">
      <dsp:nvSpPr>
        <dsp:cNvPr id="0" name=""/>
        <dsp:cNvSpPr/>
      </dsp:nvSpPr>
      <dsp:spPr>
        <a:xfrm>
          <a:off x="8579068"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1AE62F4A-F828-43CD-9443-CED4E6655247}">
      <dsp:nvSpPr>
        <dsp:cNvPr id="0" name=""/>
        <dsp:cNvSpPr/>
      </dsp:nvSpPr>
      <dsp:spPr>
        <a:xfrm>
          <a:off x="5519993" y="741785"/>
          <a:ext cx="3525219" cy="244725"/>
        </a:xfrm>
        <a:custGeom>
          <a:avLst/>
          <a:gdLst/>
          <a:ahLst/>
          <a:cxnLst/>
          <a:rect l="0" t="0" r="0" b="0"/>
          <a:pathLst>
            <a:path>
              <a:moveTo>
                <a:pt x="0" y="0"/>
              </a:moveTo>
              <a:lnTo>
                <a:pt x="0" y="122362"/>
              </a:lnTo>
              <a:lnTo>
                <a:pt x="3525219" y="122362"/>
              </a:lnTo>
              <a:lnTo>
                <a:pt x="3525219"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A023D21B-16FB-4076-891C-C75C13B4AC10}">
      <dsp:nvSpPr>
        <dsp:cNvPr id="0" name=""/>
        <dsp:cNvSpPr/>
      </dsp:nvSpPr>
      <dsp:spPr>
        <a:xfrm>
          <a:off x="7168980" y="1569192"/>
          <a:ext cx="174804" cy="3845693"/>
        </a:xfrm>
        <a:custGeom>
          <a:avLst/>
          <a:gdLst/>
          <a:ahLst/>
          <a:cxnLst/>
          <a:rect l="0" t="0" r="0" b="0"/>
          <a:pathLst>
            <a:path>
              <a:moveTo>
                <a:pt x="0" y="0"/>
              </a:moveTo>
              <a:lnTo>
                <a:pt x="0" y="3845693"/>
              </a:lnTo>
              <a:lnTo>
                <a:pt x="174804" y="384569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69A2127D-7E73-4C2B-86C3-7BB8FDCCF216}">
      <dsp:nvSpPr>
        <dsp:cNvPr id="0" name=""/>
        <dsp:cNvSpPr/>
      </dsp:nvSpPr>
      <dsp:spPr>
        <a:xfrm>
          <a:off x="7168980" y="1569192"/>
          <a:ext cx="174804" cy="3018287"/>
        </a:xfrm>
        <a:custGeom>
          <a:avLst/>
          <a:gdLst/>
          <a:ahLst/>
          <a:cxnLst/>
          <a:rect l="0" t="0" r="0" b="0"/>
          <a:pathLst>
            <a:path>
              <a:moveTo>
                <a:pt x="0" y="0"/>
              </a:moveTo>
              <a:lnTo>
                <a:pt x="0" y="3018287"/>
              </a:lnTo>
              <a:lnTo>
                <a:pt x="174804" y="3018287"/>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D65A79E5-239A-4D79-94CF-72FF452E0754}">
      <dsp:nvSpPr>
        <dsp:cNvPr id="0" name=""/>
        <dsp:cNvSpPr/>
      </dsp:nvSpPr>
      <dsp:spPr>
        <a:xfrm>
          <a:off x="7168980"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4A672035-6A5A-43B5-908F-0F936B60DE9B}">
      <dsp:nvSpPr>
        <dsp:cNvPr id="0" name=""/>
        <dsp:cNvSpPr/>
      </dsp:nvSpPr>
      <dsp:spPr>
        <a:xfrm>
          <a:off x="7168980"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89D34678-321F-4032-8782-05F3670A4323}">
      <dsp:nvSpPr>
        <dsp:cNvPr id="0" name=""/>
        <dsp:cNvSpPr/>
      </dsp:nvSpPr>
      <dsp:spPr>
        <a:xfrm>
          <a:off x="7168980"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4AD94EBF-A6EF-4223-B774-C462A5291518}">
      <dsp:nvSpPr>
        <dsp:cNvPr id="0" name=""/>
        <dsp:cNvSpPr/>
      </dsp:nvSpPr>
      <dsp:spPr>
        <a:xfrm>
          <a:off x="5519993" y="741785"/>
          <a:ext cx="2115131" cy="244725"/>
        </a:xfrm>
        <a:custGeom>
          <a:avLst/>
          <a:gdLst/>
          <a:ahLst/>
          <a:cxnLst/>
          <a:rect l="0" t="0" r="0" b="0"/>
          <a:pathLst>
            <a:path>
              <a:moveTo>
                <a:pt x="0" y="0"/>
              </a:moveTo>
              <a:lnTo>
                <a:pt x="0" y="122362"/>
              </a:lnTo>
              <a:lnTo>
                <a:pt x="2115131" y="122362"/>
              </a:lnTo>
              <a:lnTo>
                <a:pt x="2115131"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02B80E26-CC81-4B24-A567-B4119DC9ECCA}">
      <dsp:nvSpPr>
        <dsp:cNvPr id="0" name=""/>
        <dsp:cNvSpPr/>
      </dsp:nvSpPr>
      <dsp:spPr>
        <a:xfrm>
          <a:off x="5758892"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64C7CDBA-D2F3-4375-B13E-20061C66663C}">
      <dsp:nvSpPr>
        <dsp:cNvPr id="0" name=""/>
        <dsp:cNvSpPr/>
      </dsp:nvSpPr>
      <dsp:spPr>
        <a:xfrm>
          <a:off x="5758892"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BC700996-9386-40C0-9D31-EF1E76489161}">
      <dsp:nvSpPr>
        <dsp:cNvPr id="0" name=""/>
        <dsp:cNvSpPr/>
      </dsp:nvSpPr>
      <dsp:spPr>
        <a:xfrm>
          <a:off x="5758892"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307B3BDB-DEA8-45C9-9DAF-A7EE0CECB742}">
      <dsp:nvSpPr>
        <dsp:cNvPr id="0" name=""/>
        <dsp:cNvSpPr/>
      </dsp:nvSpPr>
      <dsp:spPr>
        <a:xfrm>
          <a:off x="5519993" y="741785"/>
          <a:ext cx="705043" cy="244725"/>
        </a:xfrm>
        <a:custGeom>
          <a:avLst/>
          <a:gdLst/>
          <a:ahLst/>
          <a:cxnLst/>
          <a:rect l="0" t="0" r="0" b="0"/>
          <a:pathLst>
            <a:path>
              <a:moveTo>
                <a:pt x="0" y="0"/>
              </a:moveTo>
              <a:lnTo>
                <a:pt x="0" y="122362"/>
              </a:lnTo>
              <a:lnTo>
                <a:pt x="705043" y="122362"/>
              </a:lnTo>
              <a:lnTo>
                <a:pt x="705043"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20C390CF-4A88-431B-88EB-92D18FB0548E}">
      <dsp:nvSpPr>
        <dsp:cNvPr id="0" name=""/>
        <dsp:cNvSpPr/>
      </dsp:nvSpPr>
      <dsp:spPr>
        <a:xfrm>
          <a:off x="4348805" y="1569192"/>
          <a:ext cx="174804" cy="3845693"/>
        </a:xfrm>
        <a:custGeom>
          <a:avLst/>
          <a:gdLst/>
          <a:ahLst/>
          <a:cxnLst/>
          <a:rect l="0" t="0" r="0" b="0"/>
          <a:pathLst>
            <a:path>
              <a:moveTo>
                <a:pt x="0" y="0"/>
              </a:moveTo>
              <a:lnTo>
                <a:pt x="0" y="3845693"/>
              </a:lnTo>
              <a:lnTo>
                <a:pt x="174804" y="384569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A0841858-614A-4DB1-8CD2-8A429DAEDDC4}">
      <dsp:nvSpPr>
        <dsp:cNvPr id="0" name=""/>
        <dsp:cNvSpPr/>
      </dsp:nvSpPr>
      <dsp:spPr>
        <a:xfrm>
          <a:off x="4348805" y="1569192"/>
          <a:ext cx="174804" cy="3018287"/>
        </a:xfrm>
        <a:custGeom>
          <a:avLst/>
          <a:gdLst/>
          <a:ahLst/>
          <a:cxnLst/>
          <a:rect l="0" t="0" r="0" b="0"/>
          <a:pathLst>
            <a:path>
              <a:moveTo>
                <a:pt x="0" y="0"/>
              </a:moveTo>
              <a:lnTo>
                <a:pt x="0" y="3018287"/>
              </a:lnTo>
              <a:lnTo>
                <a:pt x="174804" y="3018287"/>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1E735175-0A4B-40FA-A7FA-F97EAE542F93}">
      <dsp:nvSpPr>
        <dsp:cNvPr id="0" name=""/>
        <dsp:cNvSpPr/>
      </dsp:nvSpPr>
      <dsp:spPr>
        <a:xfrm>
          <a:off x="4348805"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7A90AB04-4DCF-4529-B13F-58DFE8D49EE3}">
      <dsp:nvSpPr>
        <dsp:cNvPr id="0" name=""/>
        <dsp:cNvSpPr/>
      </dsp:nvSpPr>
      <dsp:spPr>
        <a:xfrm>
          <a:off x="4348805"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C5FE18FD-1D1A-496F-935E-C08D2E76A9CB}">
      <dsp:nvSpPr>
        <dsp:cNvPr id="0" name=""/>
        <dsp:cNvSpPr/>
      </dsp:nvSpPr>
      <dsp:spPr>
        <a:xfrm>
          <a:off x="4348805"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EB3DC70A-3B93-4B75-ACD0-2467878CC574}">
      <dsp:nvSpPr>
        <dsp:cNvPr id="0" name=""/>
        <dsp:cNvSpPr/>
      </dsp:nvSpPr>
      <dsp:spPr>
        <a:xfrm>
          <a:off x="4814949" y="741785"/>
          <a:ext cx="705043" cy="244725"/>
        </a:xfrm>
        <a:custGeom>
          <a:avLst/>
          <a:gdLst/>
          <a:ahLst/>
          <a:cxnLst/>
          <a:rect l="0" t="0" r="0" b="0"/>
          <a:pathLst>
            <a:path>
              <a:moveTo>
                <a:pt x="705043" y="0"/>
              </a:moveTo>
              <a:lnTo>
                <a:pt x="705043" y="122362"/>
              </a:lnTo>
              <a:lnTo>
                <a:pt x="0" y="122362"/>
              </a:lnTo>
              <a:lnTo>
                <a:pt x="0"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8D6A9976-F539-40D1-A36C-D578D8E57B4B}">
      <dsp:nvSpPr>
        <dsp:cNvPr id="0" name=""/>
        <dsp:cNvSpPr/>
      </dsp:nvSpPr>
      <dsp:spPr>
        <a:xfrm>
          <a:off x="2938717" y="1569192"/>
          <a:ext cx="174804" cy="3845693"/>
        </a:xfrm>
        <a:custGeom>
          <a:avLst/>
          <a:gdLst/>
          <a:ahLst/>
          <a:cxnLst/>
          <a:rect l="0" t="0" r="0" b="0"/>
          <a:pathLst>
            <a:path>
              <a:moveTo>
                <a:pt x="0" y="0"/>
              </a:moveTo>
              <a:lnTo>
                <a:pt x="0" y="3845693"/>
              </a:lnTo>
              <a:lnTo>
                <a:pt x="174804" y="384569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BAEBAB07-6AF1-4C1A-9E1D-729D305F15F4}">
      <dsp:nvSpPr>
        <dsp:cNvPr id="0" name=""/>
        <dsp:cNvSpPr/>
      </dsp:nvSpPr>
      <dsp:spPr>
        <a:xfrm>
          <a:off x="2938717" y="1569192"/>
          <a:ext cx="174804" cy="3018287"/>
        </a:xfrm>
        <a:custGeom>
          <a:avLst/>
          <a:gdLst/>
          <a:ahLst/>
          <a:cxnLst/>
          <a:rect l="0" t="0" r="0" b="0"/>
          <a:pathLst>
            <a:path>
              <a:moveTo>
                <a:pt x="0" y="0"/>
              </a:moveTo>
              <a:lnTo>
                <a:pt x="0" y="3018287"/>
              </a:lnTo>
              <a:lnTo>
                <a:pt x="174804" y="3018287"/>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D06DBD90-25E5-4A43-BFF7-0A0CD2B4BA7D}">
      <dsp:nvSpPr>
        <dsp:cNvPr id="0" name=""/>
        <dsp:cNvSpPr/>
      </dsp:nvSpPr>
      <dsp:spPr>
        <a:xfrm>
          <a:off x="2938717"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3B93A72B-AC5A-4706-BB9F-3FCD63FF56B3}">
      <dsp:nvSpPr>
        <dsp:cNvPr id="0" name=""/>
        <dsp:cNvSpPr/>
      </dsp:nvSpPr>
      <dsp:spPr>
        <a:xfrm>
          <a:off x="2938717"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FE51077E-23A3-435E-A5F6-F8DF8EE18229}">
      <dsp:nvSpPr>
        <dsp:cNvPr id="0" name=""/>
        <dsp:cNvSpPr/>
      </dsp:nvSpPr>
      <dsp:spPr>
        <a:xfrm>
          <a:off x="2938717"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FF1380C8-1088-4831-9DFA-B414C9770794}">
      <dsp:nvSpPr>
        <dsp:cNvPr id="0" name=""/>
        <dsp:cNvSpPr/>
      </dsp:nvSpPr>
      <dsp:spPr>
        <a:xfrm>
          <a:off x="3404862" y="741785"/>
          <a:ext cx="2115131" cy="244725"/>
        </a:xfrm>
        <a:custGeom>
          <a:avLst/>
          <a:gdLst/>
          <a:ahLst/>
          <a:cxnLst/>
          <a:rect l="0" t="0" r="0" b="0"/>
          <a:pathLst>
            <a:path>
              <a:moveTo>
                <a:pt x="2115131" y="0"/>
              </a:moveTo>
              <a:lnTo>
                <a:pt x="2115131" y="122362"/>
              </a:lnTo>
              <a:lnTo>
                <a:pt x="0" y="122362"/>
              </a:lnTo>
              <a:lnTo>
                <a:pt x="0"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4DBC7B1E-2DA0-4B0E-B321-703872C99B03}">
      <dsp:nvSpPr>
        <dsp:cNvPr id="0" name=""/>
        <dsp:cNvSpPr/>
      </dsp:nvSpPr>
      <dsp:spPr>
        <a:xfrm>
          <a:off x="1528629" y="1569192"/>
          <a:ext cx="174804" cy="3018287"/>
        </a:xfrm>
        <a:custGeom>
          <a:avLst/>
          <a:gdLst/>
          <a:ahLst/>
          <a:cxnLst/>
          <a:rect l="0" t="0" r="0" b="0"/>
          <a:pathLst>
            <a:path>
              <a:moveTo>
                <a:pt x="0" y="0"/>
              </a:moveTo>
              <a:lnTo>
                <a:pt x="0" y="3018287"/>
              </a:lnTo>
              <a:lnTo>
                <a:pt x="174804" y="3018287"/>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73861559-648B-4D9B-9A28-C9B21B484F49}">
      <dsp:nvSpPr>
        <dsp:cNvPr id="0" name=""/>
        <dsp:cNvSpPr/>
      </dsp:nvSpPr>
      <dsp:spPr>
        <a:xfrm>
          <a:off x="1528629"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EFAC2CFE-79D7-44B5-8ECC-4892C6DDDC9C}">
      <dsp:nvSpPr>
        <dsp:cNvPr id="0" name=""/>
        <dsp:cNvSpPr/>
      </dsp:nvSpPr>
      <dsp:spPr>
        <a:xfrm>
          <a:off x="1528629"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8F3682D5-4F4D-4A6C-AC03-1A824FAF13EB}">
      <dsp:nvSpPr>
        <dsp:cNvPr id="0" name=""/>
        <dsp:cNvSpPr/>
      </dsp:nvSpPr>
      <dsp:spPr>
        <a:xfrm>
          <a:off x="1528629"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897EA848-DFC7-4AEE-A274-FC30FC261252}">
      <dsp:nvSpPr>
        <dsp:cNvPr id="0" name=""/>
        <dsp:cNvSpPr/>
      </dsp:nvSpPr>
      <dsp:spPr>
        <a:xfrm>
          <a:off x="1994774" y="741785"/>
          <a:ext cx="3525219" cy="244725"/>
        </a:xfrm>
        <a:custGeom>
          <a:avLst/>
          <a:gdLst/>
          <a:ahLst/>
          <a:cxnLst/>
          <a:rect l="0" t="0" r="0" b="0"/>
          <a:pathLst>
            <a:path>
              <a:moveTo>
                <a:pt x="3525219" y="0"/>
              </a:moveTo>
              <a:lnTo>
                <a:pt x="3525219" y="122362"/>
              </a:lnTo>
              <a:lnTo>
                <a:pt x="0" y="122362"/>
              </a:lnTo>
              <a:lnTo>
                <a:pt x="0"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A377192A-0A38-4CD7-BBE7-6D0E1B8A9DF4}">
      <dsp:nvSpPr>
        <dsp:cNvPr id="0" name=""/>
        <dsp:cNvSpPr/>
      </dsp:nvSpPr>
      <dsp:spPr>
        <a:xfrm>
          <a:off x="118541" y="1569192"/>
          <a:ext cx="174804" cy="2190880"/>
        </a:xfrm>
        <a:custGeom>
          <a:avLst/>
          <a:gdLst/>
          <a:ahLst/>
          <a:cxnLst/>
          <a:rect l="0" t="0" r="0" b="0"/>
          <a:pathLst>
            <a:path>
              <a:moveTo>
                <a:pt x="0" y="0"/>
              </a:moveTo>
              <a:lnTo>
                <a:pt x="0" y="2190880"/>
              </a:lnTo>
              <a:lnTo>
                <a:pt x="174804" y="2190880"/>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0E2F2A07-A3F8-4648-8AFA-C03E0A8E3F24}">
      <dsp:nvSpPr>
        <dsp:cNvPr id="0" name=""/>
        <dsp:cNvSpPr/>
      </dsp:nvSpPr>
      <dsp:spPr>
        <a:xfrm>
          <a:off x="118541" y="1569192"/>
          <a:ext cx="174804" cy="1363473"/>
        </a:xfrm>
        <a:custGeom>
          <a:avLst/>
          <a:gdLst/>
          <a:ahLst/>
          <a:cxnLst/>
          <a:rect l="0" t="0" r="0" b="0"/>
          <a:pathLst>
            <a:path>
              <a:moveTo>
                <a:pt x="0" y="0"/>
              </a:moveTo>
              <a:lnTo>
                <a:pt x="0" y="1363473"/>
              </a:lnTo>
              <a:lnTo>
                <a:pt x="174804" y="1363473"/>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A0CB5D5C-CBEF-4A80-BCAA-4DB25A43762B}">
      <dsp:nvSpPr>
        <dsp:cNvPr id="0" name=""/>
        <dsp:cNvSpPr/>
      </dsp:nvSpPr>
      <dsp:spPr>
        <a:xfrm>
          <a:off x="118541" y="1569192"/>
          <a:ext cx="174804" cy="536066"/>
        </a:xfrm>
        <a:custGeom>
          <a:avLst/>
          <a:gdLst/>
          <a:ahLst/>
          <a:cxnLst/>
          <a:rect l="0" t="0" r="0" b="0"/>
          <a:pathLst>
            <a:path>
              <a:moveTo>
                <a:pt x="0" y="0"/>
              </a:moveTo>
              <a:lnTo>
                <a:pt x="0" y="536066"/>
              </a:lnTo>
              <a:lnTo>
                <a:pt x="174804" y="536066"/>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C4650E12-3CE6-4296-988C-CC7B48C1D387}">
      <dsp:nvSpPr>
        <dsp:cNvPr id="0" name=""/>
        <dsp:cNvSpPr/>
      </dsp:nvSpPr>
      <dsp:spPr>
        <a:xfrm>
          <a:off x="584686" y="741785"/>
          <a:ext cx="4935307" cy="244725"/>
        </a:xfrm>
        <a:custGeom>
          <a:avLst/>
          <a:gdLst/>
          <a:ahLst/>
          <a:cxnLst/>
          <a:rect l="0" t="0" r="0" b="0"/>
          <a:pathLst>
            <a:path>
              <a:moveTo>
                <a:pt x="4935307" y="0"/>
              </a:moveTo>
              <a:lnTo>
                <a:pt x="4935307" y="122362"/>
              </a:lnTo>
              <a:lnTo>
                <a:pt x="0" y="122362"/>
              </a:lnTo>
              <a:lnTo>
                <a:pt x="0" y="244725"/>
              </a:lnTo>
            </a:path>
          </a:pathLst>
        </a:custGeom>
        <a:no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sp>
    <dsp:sp modelId="{E95EBB54-BD0A-4C7A-8628-899DD8A1A5A1}">
      <dsp:nvSpPr>
        <dsp:cNvPr id="0" name=""/>
        <dsp:cNvSpPr/>
      </dsp:nvSpPr>
      <dsp:spPr>
        <a:xfrm>
          <a:off x="4937312" y="159104"/>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SO 25010</a:t>
          </a:r>
          <a:endParaRPr lang="de-CH" sz="1200" kern="1200"/>
        </a:p>
      </dsp:txBody>
      <dsp:txXfrm>
        <a:off x="4937312" y="159104"/>
        <a:ext cx="1165361" cy="582680"/>
      </dsp:txXfrm>
    </dsp:sp>
    <dsp:sp modelId="{51A6DA82-597C-486C-9B2A-8B77FB118BD6}">
      <dsp:nvSpPr>
        <dsp:cNvPr id="0" name=""/>
        <dsp:cNvSpPr/>
      </dsp:nvSpPr>
      <dsp:spPr>
        <a:xfrm>
          <a:off x="2005"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Funktional</a:t>
          </a:r>
          <a:endParaRPr lang="de-CH" sz="1200" kern="1200"/>
        </a:p>
      </dsp:txBody>
      <dsp:txXfrm>
        <a:off x="2005" y="986511"/>
        <a:ext cx="1165361" cy="582680"/>
      </dsp:txXfrm>
    </dsp:sp>
    <dsp:sp modelId="{458954D6-E8CA-480B-B779-A3C1CF0282E9}">
      <dsp:nvSpPr>
        <dsp:cNvPr id="0" name=""/>
        <dsp:cNvSpPr/>
      </dsp:nvSpPr>
      <dsp:spPr>
        <a:xfrm>
          <a:off x="293346"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Vollständigkeit</a:t>
          </a:r>
          <a:endParaRPr lang="de-CH" sz="1200" kern="1200"/>
        </a:p>
      </dsp:txBody>
      <dsp:txXfrm>
        <a:off x="293346" y="1813918"/>
        <a:ext cx="1165361" cy="582680"/>
      </dsp:txXfrm>
    </dsp:sp>
    <dsp:sp modelId="{9D942C81-A525-4527-ADCD-1B43C76738D2}">
      <dsp:nvSpPr>
        <dsp:cNvPr id="0" name=""/>
        <dsp:cNvSpPr/>
      </dsp:nvSpPr>
      <dsp:spPr>
        <a:xfrm>
          <a:off x="293346"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Korrektheit</a:t>
          </a:r>
          <a:endParaRPr lang="de-CH" sz="1200" kern="1200"/>
        </a:p>
      </dsp:txBody>
      <dsp:txXfrm>
        <a:off x="293346" y="2641325"/>
        <a:ext cx="1165361" cy="582680"/>
      </dsp:txXfrm>
    </dsp:sp>
    <dsp:sp modelId="{E7B8995E-4D34-412D-8D04-71AA9C1FB5CE}">
      <dsp:nvSpPr>
        <dsp:cNvPr id="0" name=""/>
        <dsp:cNvSpPr/>
      </dsp:nvSpPr>
      <dsp:spPr>
        <a:xfrm>
          <a:off x="293346"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Angemessenheit</a:t>
          </a:r>
          <a:endParaRPr lang="de-CH" sz="1200" kern="1200"/>
        </a:p>
      </dsp:txBody>
      <dsp:txXfrm>
        <a:off x="293346" y="3468731"/>
        <a:ext cx="1165361" cy="582680"/>
      </dsp:txXfrm>
    </dsp:sp>
    <dsp:sp modelId="{0079FDB8-F151-4C60-9D27-DD5C48838872}">
      <dsp:nvSpPr>
        <dsp:cNvPr id="0" name=""/>
        <dsp:cNvSpPr/>
      </dsp:nvSpPr>
      <dsp:spPr>
        <a:xfrm>
          <a:off x="1412093"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Verlässlich</a:t>
          </a:r>
          <a:endParaRPr lang="de-CH" sz="1200" kern="1200"/>
        </a:p>
      </dsp:txBody>
      <dsp:txXfrm>
        <a:off x="1412093" y="986511"/>
        <a:ext cx="1165361" cy="582680"/>
      </dsp:txXfrm>
    </dsp:sp>
    <dsp:sp modelId="{FC073F40-053F-4175-91BD-835719CC23F7}">
      <dsp:nvSpPr>
        <dsp:cNvPr id="0" name=""/>
        <dsp:cNvSpPr/>
      </dsp:nvSpPr>
      <dsp:spPr>
        <a:xfrm>
          <a:off x="1703433"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cs typeface="Arial"/>
            </a:rPr>
            <a:t>Ausgereiftheit</a:t>
          </a:r>
          <a:endParaRPr lang="de-CH" sz="1200" kern="1200"/>
        </a:p>
      </dsp:txBody>
      <dsp:txXfrm>
        <a:off x="1703433" y="1813918"/>
        <a:ext cx="1165361" cy="582680"/>
      </dsp:txXfrm>
    </dsp:sp>
    <dsp:sp modelId="{32651543-92F3-429E-AE78-2D396D8FFEBF}">
      <dsp:nvSpPr>
        <dsp:cNvPr id="0" name=""/>
        <dsp:cNvSpPr/>
      </dsp:nvSpPr>
      <dsp:spPr>
        <a:xfrm>
          <a:off x="1703433"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Verfügbarkeit</a:t>
          </a:r>
          <a:endParaRPr lang="de-CH" sz="1200" kern="1200"/>
        </a:p>
      </dsp:txBody>
      <dsp:txXfrm>
        <a:off x="1703433" y="2641325"/>
        <a:ext cx="1165361" cy="582680"/>
      </dsp:txXfrm>
    </dsp:sp>
    <dsp:sp modelId="{2E2CE622-3F0C-4844-BE16-D142471598CA}">
      <dsp:nvSpPr>
        <dsp:cNvPr id="0" name=""/>
        <dsp:cNvSpPr/>
      </dsp:nvSpPr>
      <dsp:spPr>
        <a:xfrm>
          <a:off x="1703433"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Wieder-herstellbarkeit</a:t>
          </a:r>
          <a:endParaRPr lang="de-CH" sz="1200" kern="1200"/>
        </a:p>
      </dsp:txBody>
      <dsp:txXfrm>
        <a:off x="1703433" y="3468731"/>
        <a:ext cx="1165361" cy="582680"/>
      </dsp:txXfrm>
    </dsp:sp>
    <dsp:sp modelId="{92F90DBF-2A64-47C2-8ED6-7D186F84E6E3}">
      <dsp:nvSpPr>
        <dsp:cNvPr id="0" name=""/>
        <dsp:cNvSpPr/>
      </dsp:nvSpPr>
      <dsp:spPr>
        <a:xfrm>
          <a:off x="1703433" y="429613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Fehlertoleranz</a:t>
          </a:r>
          <a:endParaRPr lang="de-CH" sz="1200" kern="1200"/>
        </a:p>
      </dsp:txBody>
      <dsp:txXfrm>
        <a:off x="1703433" y="4296138"/>
        <a:ext cx="1165361" cy="582680"/>
      </dsp:txXfrm>
    </dsp:sp>
    <dsp:sp modelId="{1656141C-D8A8-4336-99AB-6C5F2F6DCEB4}">
      <dsp:nvSpPr>
        <dsp:cNvPr id="0" name=""/>
        <dsp:cNvSpPr/>
      </dsp:nvSpPr>
      <dsp:spPr>
        <a:xfrm>
          <a:off x="2822181"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Usability</a:t>
          </a:r>
          <a:endParaRPr lang="de-CH" sz="1200" kern="1200"/>
        </a:p>
      </dsp:txBody>
      <dsp:txXfrm>
        <a:off x="2822181" y="986511"/>
        <a:ext cx="1165361" cy="582680"/>
      </dsp:txXfrm>
    </dsp:sp>
    <dsp:sp modelId="{A758D782-D509-47BD-B1B9-30C35299CAFA}">
      <dsp:nvSpPr>
        <dsp:cNvPr id="0" name=""/>
        <dsp:cNvSpPr/>
      </dsp:nvSpPr>
      <dsp:spPr>
        <a:xfrm>
          <a:off x="3113521"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Optimale</a:t>
          </a:r>
          <a:r>
            <a:rPr lang="en-US" sz="1200" kern="1200"/>
            <a:t> </a:t>
          </a:r>
          <a:r>
            <a:rPr lang="en-US" sz="1200" kern="1200" err="1"/>
            <a:t>Erkennbarkeit</a:t>
          </a:r>
          <a:endParaRPr lang="de-CH" sz="1200" kern="1200"/>
        </a:p>
      </dsp:txBody>
      <dsp:txXfrm>
        <a:off x="3113521" y="1813918"/>
        <a:ext cx="1165361" cy="582680"/>
      </dsp:txXfrm>
    </dsp:sp>
    <dsp:sp modelId="{2868756B-7AC9-479C-A8AD-A774C0A7A7DA}">
      <dsp:nvSpPr>
        <dsp:cNvPr id="0" name=""/>
        <dsp:cNvSpPr/>
      </dsp:nvSpPr>
      <dsp:spPr>
        <a:xfrm>
          <a:off x="3113521"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Leichter</a:t>
          </a:r>
          <a:r>
            <a:rPr lang="en-US" sz="1200" kern="1200"/>
            <a:t> </a:t>
          </a:r>
          <a:r>
            <a:rPr lang="en-US" sz="1200" kern="1200" err="1"/>
            <a:t>Zugang</a:t>
          </a:r>
          <a:endParaRPr lang="de-CH" sz="1200" kern="1200"/>
        </a:p>
      </dsp:txBody>
      <dsp:txXfrm>
        <a:off x="3113521" y="2641325"/>
        <a:ext cx="1165361" cy="582680"/>
      </dsp:txXfrm>
    </dsp:sp>
    <dsp:sp modelId="{B4CD171E-6BF2-408C-80AF-2CE0FD40BEDC}">
      <dsp:nvSpPr>
        <dsp:cNvPr id="0" name=""/>
        <dsp:cNvSpPr/>
      </dsp:nvSpPr>
      <dsp:spPr>
        <a:xfrm>
          <a:off x="3113521"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icht </a:t>
          </a:r>
          <a:r>
            <a:rPr lang="en-US" sz="1200" kern="1200" err="1"/>
            <a:t>erlernbar</a:t>
          </a:r>
          <a:endParaRPr lang="en-US" sz="1200" kern="1200"/>
        </a:p>
      </dsp:txBody>
      <dsp:txXfrm>
        <a:off x="3113521" y="3468731"/>
        <a:ext cx="1165361" cy="582680"/>
      </dsp:txXfrm>
    </dsp:sp>
    <dsp:sp modelId="{A8D1F87E-4B43-4032-ACF6-84CE548BA08E}">
      <dsp:nvSpPr>
        <dsp:cNvPr id="0" name=""/>
        <dsp:cNvSpPr/>
      </dsp:nvSpPr>
      <dsp:spPr>
        <a:xfrm>
          <a:off x="3113521" y="429613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chutz </a:t>
          </a:r>
          <a:r>
            <a:rPr lang="en-US" sz="1200" kern="1200" err="1"/>
            <a:t>vor</a:t>
          </a:r>
          <a:r>
            <a:rPr lang="en-US" sz="1200" kern="1200"/>
            <a:t> Fehl-</a:t>
          </a:r>
          <a:r>
            <a:rPr lang="en-US" sz="1200" kern="1200" err="1"/>
            <a:t>bedienung</a:t>
          </a:r>
          <a:r>
            <a:rPr lang="en-US" sz="1200" kern="1200"/>
            <a:t> </a:t>
          </a:r>
          <a:r>
            <a:rPr lang="en-US" sz="1200" kern="1200" err="1"/>
            <a:t>durch</a:t>
          </a:r>
          <a:r>
            <a:rPr lang="en-US" sz="1200" kern="1200"/>
            <a:t> den </a:t>
          </a:r>
          <a:r>
            <a:rPr lang="en-US" sz="1200" kern="1200" err="1"/>
            <a:t>Nutzer</a:t>
          </a:r>
          <a:endParaRPr lang="de-CH" sz="1200" kern="1200"/>
        </a:p>
      </dsp:txBody>
      <dsp:txXfrm>
        <a:off x="3113521" y="4296138"/>
        <a:ext cx="1165361" cy="582680"/>
      </dsp:txXfrm>
    </dsp:sp>
    <dsp:sp modelId="{8FA9B796-832C-4172-90B7-8EE9CFC409C6}">
      <dsp:nvSpPr>
        <dsp:cNvPr id="0" name=""/>
        <dsp:cNvSpPr/>
      </dsp:nvSpPr>
      <dsp:spPr>
        <a:xfrm>
          <a:off x="3113521" y="512354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Ästhetisches</a:t>
          </a:r>
          <a:r>
            <a:rPr lang="en-US" sz="1200" kern="1200"/>
            <a:t> User Interface</a:t>
          </a:r>
          <a:endParaRPr lang="de-CH" sz="1200" kern="1200"/>
        </a:p>
      </dsp:txBody>
      <dsp:txXfrm>
        <a:off x="3113521" y="5123545"/>
        <a:ext cx="1165361" cy="582680"/>
      </dsp:txXfrm>
    </dsp:sp>
    <dsp:sp modelId="{1D565A37-CF2F-4D08-84B9-531039161899}">
      <dsp:nvSpPr>
        <dsp:cNvPr id="0" name=""/>
        <dsp:cNvSpPr/>
      </dsp:nvSpPr>
      <dsp:spPr>
        <a:xfrm>
          <a:off x="4232268"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icherheit</a:t>
          </a:r>
          <a:endParaRPr lang="de-CH" sz="1200" kern="1200"/>
        </a:p>
      </dsp:txBody>
      <dsp:txXfrm>
        <a:off x="4232268" y="986511"/>
        <a:ext cx="1165361" cy="582680"/>
      </dsp:txXfrm>
    </dsp:sp>
    <dsp:sp modelId="{0484552F-A9A0-4ABD-BAC6-D4921CDFD900}">
      <dsp:nvSpPr>
        <dsp:cNvPr id="0" name=""/>
        <dsp:cNvSpPr/>
      </dsp:nvSpPr>
      <dsp:spPr>
        <a:xfrm>
          <a:off x="4523609"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Datenschutz</a:t>
          </a:r>
          <a:endParaRPr lang="de-CH" sz="1200" kern="1200"/>
        </a:p>
      </dsp:txBody>
      <dsp:txXfrm>
        <a:off x="4523609" y="1813918"/>
        <a:ext cx="1165361" cy="582680"/>
      </dsp:txXfrm>
    </dsp:sp>
    <dsp:sp modelId="{D1C7B55D-B26B-4348-98F3-1352E5907100}">
      <dsp:nvSpPr>
        <dsp:cNvPr id="0" name=""/>
        <dsp:cNvSpPr/>
      </dsp:nvSpPr>
      <dsp:spPr>
        <a:xfrm>
          <a:off x="4523609"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Integrität</a:t>
          </a:r>
          <a:endParaRPr lang="de-CH" sz="1200" kern="1200"/>
        </a:p>
      </dsp:txBody>
      <dsp:txXfrm>
        <a:off x="4523609" y="2641325"/>
        <a:ext cx="1165361" cy="582680"/>
      </dsp:txXfrm>
    </dsp:sp>
    <dsp:sp modelId="{2B7B6EF6-3917-4E5C-9F2B-F2B99FEEBD9F}">
      <dsp:nvSpPr>
        <dsp:cNvPr id="0" name=""/>
        <dsp:cNvSpPr/>
      </dsp:nvSpPr>
      <dsp:spPr>
        <a:xfrm>
          <a:off x="4523609"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Nicht</a:t>
          </a:r>
          <a:r>
            <a:rPr lang="en-US" sz="1200" kern="1200"/>
            <a:t> </a:t>
          </a:r>
          <a:r>
            <a:rPr lang="en-US" sz="1200" kern="1200" err="1"/>
            <a:t>manipulierbar</a:t>
          </a:r>
          <a:endParaRPr lang="de-CH" sz="1200" kern="1200"/>
        </a:p>
      </dsp:txBody>
      <dsp:txXfrm>
        <a:off x="4523609" y="3468731"/>
        <a:ext cx="1165361" cy="582680"/>
      </dsp:txXfrm>
    </dsp:sp>
    <dsp:sp modelId="{AB176A57-46AE-4B28-BE6A-0B0FDD71F3EA}">
      <dsp:nvSpPr>
        <dsp:cNvPr id="0" name=""/>
        <dsp:cNvSpPr/>
      </dsp:nvSpPr>
      <dsp:spPr>
        <a:xfrm>
          <a:off x="4523609" y="429613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Sichere</a:t>
          </a:r>
          <a:r>
            <a:rPr lang="en-US" sz="1200" kern="1200"/>
            <a:t> Administration</a:t>
          </a:r>
          <a:endParaRPr lang="de-CH" sz="1200" kern="1200"/>
        </a:p>
      </dsp:txBody>
      <dsp:txXfrm>
        <a:off x="4523609" y="4296138"/>
        <a:ext cx="1165361" cy="582680"/>
      </dsp:txXfrm>
    </dsp:sp>
    <dsp:sp modelId="{4CBBAABF-EAB4-4DAE-A39A-230AAAEA22F9}">
      <dsp:nvSpPr>
        <dsp:cNvPr id="0" name=""/>
        <dsp:cNvSpPr/>
      </dsp:nvSpPr>
      <dsp:spPr>
        <a:xfrm>
          <a:off x="4523609" y="512354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Authentizier-barkeit</a:t>
          </a:r>
          <a:endParaRPr lang="de-CH" sz="1200" kern="1200"/>
        </a:p>
      </dsp:txBody>
      <dsp:txXfrm>
        <a:off x="4523609" y="5123545"/>
        <a:ext cx="1165361" cy="582680"/>
      </dsp:txXfrm>
    </dsp:sp>
    <dsp:sp modelId="{AA80021D-763D-4AB2-BA4B-E41686055537}">
      <dsp:nvSpPr>
        <dsp:cNvPr id="0" name=""/>
        <dsp:cNvSpPr/>
      </dsp:nvSpPr>
      <dsp:spPr>
        <a:xfrm>
          <a:off x="5642356"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Performanz</a:t>
          </a:r>
          <a:endParaRPr lang="de-CH" sz="1200" kern="1200"/>
        </a:p>
      </dsp:txBody>
      <dsp:txXfrm>
        <a:off x="5642356" y="986511"/>
        <a:ext cx="1165361" cy="582680"/>
      </dsp:txXfrm>
    </dsp:sp>
    <dsp:sp modelId="{CD8C5727-17E1-4C01-889D-1399E5F87BFF}">
      <dsp:nvSpPr>
        <dsp:cNvPr id="0" name=""/>
        <dsp:cNvSpPr/>
      </dsp:nvSpPr>
      <dsp:spPr>
        <a:xfrm>
          <a:off x="5933697"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Zeitverhalten</a:t>
          </a:r>
          <a:endParaRPr lang="de-CH" sz="1200" kern="1200"/>
        </a:p>
      </dsp:txBody>
      <dsp:txXfrm>
        <a:off x="5933697" y="1813918"/>
        <a:ext cx="1165361" cy="582680"/>
      </dsp:txXfrm>
    </dsp:sp>
    <dsp:sp modelId="{7625DEBB-E5DE-46CF-8847-51930CD4B68F}">
      <dsp:nvSpPr>
        <dsp:cNvPr id="0" name=""/>
        <dsp:cNvSpPr/>
      </dsp:nvSpPr>
      <dsp:spPr>
        <a:xfrm>
          <a:off x="5933697"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Ressourcen</a:t>
          </a:r>
          <a:r>
            <a:rPr lang="en-US" sz="1200" kern="1200"/>
            <a:t> </a:t>
          </a:r>
          <a:r>
            <a:rPr lang="en-US" sz="1200" kern="1200" err="1"/>
            <a:t>effektiv</a:t>
          </a:r>
          <a:r>
            <a:rPr lang="en-US" sz="1200" kern="1200"/>
            <a:t> </a:t>
          </a:r>
          <a:r>
            <a:rPr lang="en-US" sz="1200" kern="1200" err="1"/>
            <a:t>nutzen</a:t>
          </a:r>
          <a:endParaRPr lang="de-CH" sz="1200" kern="1200"/>
        </a:p>
      </dsp:txBody>
      <dsp:txXfrm>
        <a:off x="5933697" y="2641325"/>
        <a:ext cx="1165361" cy="582680"/>
      </dsp:txXfrm>
    </dsp:sp>
    <dsp:sp modelId="{B02920AB-A51C-49AD-B671-94EF108A5FF0}">
      <dsp:nvSpPr>
        <dsp:cNvPr id="0" name=""/>
        <dsp:cNvSpPr/>
      </dsp:nvSpPr>
      <dsp:spPr>
        <a:xfrm>
          <a:off x="5933697"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Kapazitäten</a:t>
          </a:r>
          <a:r>
            <a:rPr lang="en-US" sz="1200" kern="1200"/>
            <a:t> </a:t>
          </a:r>
          <a:r>
            <a:rPr lang="en-US" sz="1200" kern="1200" err="1"/>
            <a:t>schonen</a:t>
          </a:r>
          <a:endParaRPr lang="de-CH" sz="1200" kern="1200"/>
        </a:p>
      </dsp:txBody>
      <dsp:txXfrm>
        <a:off x="5933697" y="3468731"/>
        <a:ext cx="1165361" cy="582680"/>
      </dsp:txXfrm>
    </dsp:sp>
    <dsp:sp modelId="{DE8C2C0A-505A-4D37-A80B-5982F99E6A08}">
      <dsp:nvSpPr>
        <dsp:cNvPr id="0" name=""/>
        <dsp:cNvSpPr/>
      </dsp:nvSpPr>
      <dsp:spPr>
        <a:xfrm>
          <a:off x="7052444"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Wartbakeit</a:t>
          </a:r>
          <a:endParaRPr lang="de-CH" sz="1200" kern="1200"/>
        </a:p>
      </dsp:txBody>
      <dsp:txXfrm>
        <a:off x="7052444" y="986511"/>
        <a:ext cx="1165361" cy="582680"/>
      </dsp:txXfrm>
    </dsp:sp>
    <dsp:sp modelId="{2DD2FBDE-3AE7-4A6D-AA0C-BDF01D5B4891}">
      <dsp:nvSpPr>
        <dsp:cNvPr id="0" name=""/>
        <dsp:cNvSpPr/>
      </dsp:nvSpPr>
      <dsp:spPr>
        <a:xfrm>
          <a:off x="7343784"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Modularer</a:t>
          </a:r>
          <a:r>
            <a:rPr lang="en-US" sz="1200" kern="1200"/>
            <a:t> Aufbau</a:t>
          </a:r>
          <a:endParaRPr lang="de-CH" sz="1200" kern="1200"/>
        </a:p>
      </dsp:txBody>
      <dsp:txXfrm>
        <a:off x="7343784" y="1813918"/>
        <a:ext cx="1165361" cy="582680"/>
      </dsp:txXfrm>
    </dsp:sp>
    <dsp:sp modelId="{30B11FE5-725A-47D5-97FC-705BF2685466}">
      <dsp:nvSpPr>
        <dsp:cNvPr id="0" name=""/>
        <dsp:cNvSpPr/>
      </dsp:nvSpPr>
      <dsp:spPr>
        <a:xfrm>
          <a:off x="7343784"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Wieder-verwendbarkeit</a:t>
          </a:r>
          <a:endParaRPr lang="de-CH" sz="1200" kern="1200"/>
        </a:p>
      </dsp:txBody>
      <dsp:txXfrm>
        <a:off x="7343784" y="2641325"/>
        <a:ext cx="1165361" cy="582680"/>
      </dsp:txXfrm>
    </dsp:sp>
    <dsp:sp modelId="{F7B96D91-0A06-4569-8DA1-0DD58E41320D}">
      <dsp:nvSpPr>
        <dsp:cNvPr id="0" name=""/>
        <dsp:cNvSpPr/>
      </dsp:nvSpPr>
      <dsp:spPr>
        <a:xfrm>
          <a:off x="7343784"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Gute</a:t>
          </a:r>
          <a:r>
            <a:rPr lang="en-US" sz="1200" kern="1200"/>
            <a:t> </a:t>
          </a:r>
          <a:r>
            <a:rPr lang="en-US" sz="1200" kern="1200" err="1"/>
            <a:t>Analyse-Funktion</a:t>
          </a:r>
          <a:endParaRPr lang="de-CH" sz="1200" kern="1200"/>
        </a:p>
      </dsp:txBody>
      <dsp:txXfrm>
        <a:off x="7343784" y="3468731"/>
        <a:ext cx="1165361" cy="582680"/>
      </dsp:txXfrm>
    </dsp:sp>
    <dsp:sp modelId="{64A5788C-C4D3-4252-B0F0-BA93CE75C7C6}">
      <dsp:nvSpPr>
        <dsp:cNvPr id="0" name=""/>
        <dsp:cNvSpPr/>
      </dsp:nvSpPr>
      <dsp:spPr>
        <a:xfrm>
          <a:off x="7343784" y="429613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icht </a:t>
          </a:r>
          <a:r>
            <a:rPr lang="en-US" sz="1200" kern="1200" err="1"/>
            <a:t>modifizierbar</a:t>
          </a:r>
          <a:endParaRPr lang="de-CH" sz="1200" kern="1200"/>
        </a:p>
      </dsp:txBody>
      <dsp:txXfrm>
        <a:off x="7343784" y="4296138"/>
        <a:ext cx="1165361" cy="582680"/>
      </dsp:txXfrm>
    </dsp:sp>
    <dsp:sp modelId="{B6C28424-A23B-4F8F-A481-FAA585EFEEEE}">
      <dsp:nvSpPr>
        <dsp:cNvPr id="0" name=""/>
        <dsp:cNvSpPr/>
      </dsp:nvSpPr>
      <dsp:spPr>
        <a:xfrm>
          <a:off x="7343784" y="512354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Umfangreiche</a:t>
          </a:r>
          <a:r>
            <a:rPr lang="en-US" sz="1200" kern="1200"/>
            <a:t> </a:t>
          </a:r>
          <a:r>
            <a:rPr lang="en-US" sz="1200" kern="1200" err="1"/>
            <a:t>Testoptionen</a:t>
          </a:r>
          <a:endParaRPr lang="de-CH" sz="1200" kern="1200"/>
        </a:p>
      </dsp:txBody>
      <dsp:txXfrm>
        <a:off x="7343784" y="5123545"/>
        <a:ext cx="1165361" cy="582680"/>
      </dsp:txXfrm>
    </dsp:sp>
    <dsp:sp modelId="{9004CD8F-521F-48BB-B1A8-4751D7BC4C81}">
      <dsp:nvSpPr>
        <dsp:cNvPr id="0" name=""/>
        <dsp:cNvSpPr/>
      </dsp:nvSpPr>
      <dsp:spPr>
        <a:xfrm>
          <a:off x="8462532"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Portabilität</a:t>
          </a:r>
          <a:endParaRPr lang="de-CH" sz="1200" kern="1200"/>
        </a:p>
      </dsp:txBody>
      <dsp:txXfrm>
        <a:off x="8462532" y="986511"/>
        <a:ext cx="1165361" cy="582680"/>
      </dsp:txXfrm>
    </dsp:sp>
    <dsp:sp modelId="{F0059663-D3E6-4DE2-BC49-B080D7611536}">
      <dsp:nvSpPr>
        <dsp:cNvPr id="0" name=""/>
        <dsp:cNvSpPr/>
      </dsp:nvSpPr>
      <dsp:spPr>
        <a:xfrm>
          <a:off x="8753872"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icht </a:t>
          </a:r>
          <a:r>
            <a:rPr lang="en-US" sz="1200" kern="1200" err="1"/>
            <a:t>zu</a:t>
          </a:r>
          <a:r>
            <a:rPr lang="en-US" sz="1200" kern="1200"/>
            <a:t> </a:t>
          </a:r>
          <a:r>
            <a:rPr lang="en-US" sz="1200" kern="1200" err="1"/>
            <a:t>installieren</a:t>
          </a:r>
          <a:endParaRPr lang="de-CH" sz="1200" kern="1200"/>
        </a:p>
      </dsp:txBody>
      <dsp:txXfrm>
        <a:off x="8753872" y="1813918"/>
        <a:ext cx="1165361" cy="582680"/>
      </dsp:txXfrm>
    </dsp:sp>
    <dsp:sp modelId="{17642A7F-C60C-44D6-ABB9-1B18A75FEB90}">
      <dsp:nvSpPr>
        <dsp:cNvPr id="0" name=""/>
        <dsp:cNvSpPr/>
      </dsp:nvSpPr>
      <dsp:spPr>
        <a:xfrm>
          <a:off x="8753872"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Einfach</a:t>
          </a:r>
          <a:r>
            <a:rPr lang="en-US" sz="1200" kern="1200"/>
            <a:t> </a:t>
          </a:r>
          <a:r>
            <a:rPr lang="en-US" sz="1200" kern="1200" err="1"/>
            <a:t>austauschbar</a:t>
          </a:r>
          <a:endParaRPr lang="de-CH" sz="1200" kern="1200"/>
        </a:p>
      </dsp:txBody>
      <dsp:txXfrm>
        <a:off x="8753872" y="2641325"/>
        <a:ext cx="1165361" cy="582680"/>
      </dsp:txXfrm>
    </dsp:sp>
    <dsp:sp modelId="{69BB326F-E6DD-4078-A287-FC786B05584C}">
      <dsp:nvSpPr>
        <dsp:cNvPr id="0" name=""/>
        <dsp:cNvSpPr/>
      </dsp:nvSpPr>
      <dsp:spPr>
        <a:xfrm>
          <a:off x="8753872" y="346873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Gute</a:t>
          </a:r>
          <a:r>
            <a:rPr lang="en-US" sz="1200" kern="1200"/>
            <a:t> </a:t>
          </a:r>
          <a:br>
            <a:rPr lang="en-US" sz="1200" kern="1200">
              <a:solidFill>
                <a:srgbClr val="010000"/>
              </a:solidFill>
            </a:rPr>
          </a:br>
          <a:r>
            <a:rPr lang="en-US" sz="1200" kern="1200" err="1"/>
            <a:t>Adaptivität</a:t>
          </a:r>
          <a:endParaRPr lang="de-CH" sz="1200" kern="1200"/>
        </a:p>
      </dsp:txBody>
      <dsp:txXfrm>
        <a:off x="8753872" y="3468731"/>
        <a:ext cx="1165361" cy="582680"/>
      </dsp:txXfrm>
    </dsp:sp>
    <dsp:sp modelId="{B9369C0E-00F2-4637-AA0F-07D8AD5387D3}">
      <dsp:nvSpPr>
        <dsp:cNvPr id="0" name=""/>
        <dsp:cNvSpPr/>
      </dsp:nvSpPr>
      <dsp:spPr>
        <a:xfrm>
          <a:off x="9872620" y="986511"/>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Kompatibilität</a:t>
          </a:r>
          <a:endParaRPr lang="de-CH" sz="1200" kern="1200"/>
        </a:p>
      </dsp:txBody>
      <dsp:txXfrm>
        <a:off x="9872620" y="986511"/>
        <a:ext cx="1165361" cy="582680"/>
      </dsp:txXfrm>
    </dsp:sp>
    <dsp:sp modelId="{B012D76E-3474-412C-9306-A45686A2EEE8}">
      <dsp:nvSpPr>
        <dsp:cNvPr id="0" name=""/>
        <dsp:cNvSpPr/>
      </dsp:nvSpPr>
      <dsp:spPr>
        <a:xfrm>
          <a:off x="10163960" y="1813918"/>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Optimale</a:t>
          </a:r>
          <a:r>
            <a:rPr lang="en-US" sz="1200" kern="1200"/>
            <a:t> Co-</a:t>
          </a:r>
          <a:r>
            <a:rPr lang="en-US" sz="1200" kern="1200" err="1"/>
            <a:t>Existenz</a:t>
          </a:r>
          <a:r>
            <a:rPr lang="en-US" sz="1200" kern="1200"/>
            <a:t> </a:t>
          </a:r>
          <a:r>
            <a:rPr lang="en-US" sz="1200" kern="1200" err="1"/>
            <a:t>zu</a:t>
          </a:r>
          <a:r>
            <a:rPr lang="en-US" sz="1200" kern="1200"/>
            <a:t> </a:t>
          </a:r>
          <a:r>
            <a:rPr lang="en-US" sz="1200" kern="1200" err="1"/>
            <a:t>weiterer</a:t>
          </a:r>
          <a:r>
            <a:rPr lang="en-US" sz="1200" kern="1200"/>
            <a:t> SW</a:t>
          </a:r>
          <a:endParaRPr lang="de-CH" sz="1200" kern="1200"/>
        </a:p>
      </dsp:txBody>
      <dsp:txXfrm>
        <a:off x="10163960" y="1813918"/>
        <a:ext cx="1165361" cy="582680"/>
      </dsp:txXfrm>
    </dsp:sp>
    <dsp:sp modelId="{6C9C5A7D-D53A-4B37-BDDE-04CB780779ED}">
      <dsp:nvSpPr>
        <dsp:cNvPr id="0" name=""/>
        <dsp:cNvSpPr/>
      </dsp:nvSpPr>
      <dsp:spPr>
        <a:xfrm>
          <a:off x="10163960" y="2641325"/>
          <a:ext cx="1165361" cy="582680"/>
        </a:xfrm>
        <a:prstGeom prst="rect">
          <a:avLst/>
        </a:prstGeom>
        <a:gradFill rotWithShape="1">
          <a:gsLst>
            <a:gs pos="0">
              <a:schemeClr val="dk1">
                <a:tint val="100000"/>
                <a:shade val="100000"/>
                <a:satMod val="130000"/>
              </a:schemeClr>
            </a:gs>
            <a:gs pos="100000">
              <a:schemeClr val="dk1">
                <a:tint val="50000"/>
                <a:shade val="100000"/>
                <a:satMod val="350000"/>
              </a:schemeClr>
            </a:gs>
          </a:gsLst>
          <a:lin ang="16200000" scaled="0"/>
        </a:gradFill>
        <a:ln w="9525" cap="flat" cmpd="sng" algn="ctr">
          <a:solidFill>
            <a:schemeClr val="dk1">
              <a:shade val="95000"/>
              <a:satMod val="105000"/>
            </a:schemeClr>
          </a:solidFill>
          <a:prstDash val="solid"/>
        </a:ln>
        <a:effectLst/>
      </dsp:spPr>
      <dsp:style>
        <a:lnRef idx="1">
          <a:schemeClr val="dk1"/>
        </a:lnRef>
        <a:fillRef idx="3">
          <a:schemeClr val="dk1"/>
        </a:fillRef>
        <a:effectRef idx="2">
          <a:schemeClr val="dk1"/>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Interoperabel</a:t>
          </a:r>
          <a:endParaRPr lang="de-CH" sz="1200" kern="1200"/>
        </a:p>
      </dsp:txBody>
      <dsp:txXfrm>
        <a:off x="10163960" y="2641325"/>
        <a:ext cx="1165361" cy="5826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4"/>
            <a:ext cx="2895306" cy="3362949"/>
          </a:xfrm>
          <a:prstGeom prst="rect">
            <a:avLst/>
          </a:prstGeom>
        </p:spPr>
        <p:txBody>
          <a:bodyPr vert="horz" lIns="183904" tIns="91952" rIns="183904" bIns="91952" rtlCol="0"/>
          <a:lstStyle>
            <a:lvl1pPr algn="l">
              <a:defRPr sz="2400"/>
            </a:lvl1pPr>
          </a:lstStyle>
          <a:p>
            <a:endParaRPr lang="de-CH"/>
          </a:p>
        </p:txBody>
      </p:sp>
      <p:sp>
        <p:nvSpPr>
          <p:cNvPr id="3" name="Datumsplatzhalter 2"/>
          <p:cNvSpPr>
            <a:spLocks noGrp="1"/>
          </p:cNvSpPr>
          <p:nvPr>
            <p:ph type="dt" sz="quarter" idx="1"/>
          </p:nvPr>
        </p:nvSpPr>
        <p:spPr>
          <a:xfrm>
            <a:off x="3784354" y="4"/>
            <a:ext cx="2895306" cy="3362949"/>
          </a:xfrm>
          <a:prstGeom prst="rect">
            <a:avLst/>
          </a:prstGeom>
        </p:spPr>
        <p:txBody>
          <a:bodyPr vert="horz" lIns="183904" tIns="91952" rIns="183904" bIns="91952" rtlCol="0"/>
          <a:lstStyle>
            <a:lvl1pPr algn="r">
              <a:defRPr sz="2400"/>
            </a:lvl1pPr>
          </a:lstStyle>
          <a:p>
            <a:fld id="{4BBA2E7B-EB49-4D78-A2D8-FB41209B0D8F}" type="datetimeFigureOut">
              <a:rPr lang="de-CH" smtClean="0"/>
              <a:t>07.09.2018</a:t>
            </a:fld>
            <a:endParaRPr lang="de-CH"/>
          </a:p>
        </p:txBody>
      </p:sp>
      <p:sp>
        <p:nvSpPr>
          <p:cNvPr id="4" name="Fußzeilenplatzhalter 3"/>
          <p:cNvSpPr>
            <a:spLocks noGrp="1"/>
          </p:cNvSpPr>
          <p:nvPr>
            <p:ph type="ftr" sz="quarter" idx="2"/>
          </p:nvPr>
        </p:nvSpPr>
        <p:spPr>
          <a:xfrm>
            <a:off x="0" y="63841911"/>
            <a:ext cx="2895306" cy="3362949"/>
          </a:xfrm>
          <a:prstGeom prst="rect">
            <a:avLst/>
          </a:prstGeom>
        </p:spPr>
        <p:txBody>
          <a:bodyPr vert="horz" lIns="183904" tIns="91952" rIns="183904" bIns="91952" rtlCol="0" anchor="b"/>
          <a:lstStyle>
            <a:lvl1pPr algn="l">
              <a:defRPr sz="2400"/>
            </a:lvl1pPr>
          </a:lstStyle>
          <a:p>
            <a:endParaRPr lang="de-CH"/>
          </a:p>
        </p:txBody>
      </p:sp>
      <p:sp>
        <p:nvSpPr>
          <p:cNvPr id="5" name="Foliennummernplatzhalter 4"/>
          <p:cNvSpPr>
            <a:spLocks noGrp="1"/>
          </p:cNvSpPr>
          <p:nvPr>
            <p:ph type="sldNum" sz="quarter" idx="3"/>
          </p:nvPr>
        </p:nvSpPr>
        <p:spPr>
          <a:xfrm>
            <a:off x="3784354" y="63841911"/>
            <a:ext cx="2895306" cy="3362949"/>
          </a:xfrm>
          <a:prstGeom prst="rect">
            <a:avLst/>
          </a:prstGeom>
        </p:spPr>
        <p:txBody>
          <a:bodyPr vert="horz" lIns="183904" tIns="91952" rIns="183904" bIns="91952" rtlCol="0" anchor="b"/>
          <a:lstStyle>
            <a:lvl1pPr algn="r">
              <a:defRPr sz="2400"/>
            </a:lvl1pPr>
          </a:lstStyle>
          <a:p>
            <a:fld id="{B8BFC997-1103-4195-97DA-2E0C7B7A4B10}" type="slidenum">
              <a:rPr lang="de-CH" smtClean="0"/>
              <a:t>‹#›</a:t>
            </a:fld>
            <a:endParaRPr lang="de-CH"/>
          </a:p>
        </p:txBody>
      </p:sp>
    </p:spTree>
    <p:extLst>
      <p:ext uri="{BB962C8B-B14F-4D97-AF65-F5344CB8AC3E}">
        <p14:creationId xmlns:p14="http://schemas.microsoft.com/office/powerpoint/2010/main" val="2706031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5201" cy="3360783"/>
          </a:xfrm>
          <a:prstGeom prst="rect">
            <a:avLst/>
          </a:prstGeom>
        </p:spPr>
        <p:txBody>
          <a:bodyPr vert="horz" lIns="181770" tIns="90886" rIns="181770" bIns="90886" rtlCol="0"/>
          <a:lstStyle>
            <a:lvl1pPr algn="l">
              <a:defRPr sz="2400"/>
            </a:lvl1pPr>
          </a:lstStyle>
          <a:p>
            <a:endParaRPr lang="de-CH"/>
          </a:p>
        </p:txBody>
      </p:sp>
      <p:sp>
        <p:nvSpPr>
          <p:cNvPr id="3" name="Date Placeholder 2"/>
          <p:cNvSpPr>
            <a:spLocks noGrp="1"/>
          </p:cNvSpPr>
          <p:nvPr>
            <p:ph type="dt" idx="1"/>
          </p:nvPr>
        </p:nvSpPr>
        <p:spPr>
          <a:xfrm>
            <a:off x="3784488" y="4"/>
            <a:ext cx="2895201" cy="3360783"/>
          </a:xfrm>
          <a:prstGeom prst="rect">
            <a:avLst/>
          </a:prstGeom>
        </p:spPr>
        <p:txBody>
          <a:bodyPr vert="horz" lIns="181770" tIns="90886" rIns="181770" bIns="90886" rtlCol="0"/>
          <a:lstStyle>
            <a:lvl1pPr algn="r">
              <a:defRPr sz="2400"/>
            </a:lvl1pPr>
          </a:lstStyle>
          <a:p>
            <a:fld id="{1F159BB1-CC1D-4F4F-ACA8-3A235456BEA3}" type="datetimeFigureOut">
              <a:rPr lang="de-DE" smtClean="0"/>
              <a:pPr/>
              <a:t>07.09.2018</a:t>
            </a:fld>
            <a:endParaRPr lang="de-CH"/>
          </a:p>
        </p:txBody>
      </p:sp>
      <p:sp>
        <p:nvSpPr>
          <p:cNvPr id="4" name="Slide Image Placeholder 3"/>
          <p:cNvSpPr>
            <a:spLocks noGrp="1" noRot="1" noChangeAspect="1"/>
          </p:cNvSpPr>
          <p:nvPr>
            <p:ph type="sldImg" idx="2"/>
          </p:nvPr>
        </p:nvSpPr>
        <p:spPr>
          <a:xfrm>
            <a:off x="-19064288" y="5040313"/>
            <a:ext cx="44810363" cy="25206325"/>
          </a:xfrm>
          <a:prstGeom prst="rect">
            <a:avLst/>
          </a:prstGeom>
          <a:noFill/>
          <a:ln w="12700">
            <a:solidFill>
              <a:prstClr val="black"/>
            </a:solidFill>
          </a:ln>
        </p:spPr>
        <p:txBody>
          <a:bodyPr vert="horz" lIns="181770" tIns="90886" rIns="181770" bIns="90886" rtlCol="0" anchor="ctr"/>
          <a:lstStyle/>
          <a:p>
            <a:endParaRPr lang="de-CH"/>
          </a:p>
        </p:txBody>
      </p:sp>
      <p:sp>
        <p:nvSpPr>
          <p:cNvPr id="5" name="Notes Placeholder 4"/>
          <p:cNvSpPr>
            <a:spLocks noGrp="1"/>
          </p:cNvSpPr>
          <p:nvPr>
            <p:ph type="body" sz="quarter" idx="3"/>
          </p:nvPr>
        </p:nvSpPr>
        <p:spPr>
          <a:xfrm>
            <a:off x="668124" y="31927448"/>
            <a:ext cx="5344987" cy="30247051"/>
          </a:xfrm>
          <a:prstGeom prst="rect">
            <a:avLst/>
          </a:prstGeom>
        </p:spPr>
        <p:txBody>
          <a:bodyPr vert="horz" lIns="181770" tIns="90886" rIns="181770" bIns="9088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63843219"/>
            <a:ext cx="2895201" cy="3360783"/>
          </a:xfrm>
          <a:prstGeom prst="rect">
            <a:avLst/>
          </a:prstGeom>
        </p:spPr>
        <p:txBody>
          <a:bodyPr vert="horz" lIns="181770" tIns="90886" rIns="181770" bIns="90886" rtlCol="0" anchor="b"/>
          <a:lstStyle>
            <a:lvl1pPr algn="l">
              <a:defRPr sz="2400"/>
            </a:lvl1pPr>
          </a:lstStyle>
          <a:p>
            <a:endParaRPr lang="de-CH"/>
          </a:p>
        </p:txBody>
      </p:sp>
      <p:sp>
        <p:nvSpPr>
          <p:cNvPr id="7" name="Slide Number Placeholder 6"/>
          <p:cNvSpPr>
            <a:spLocks noGrp="1"/>
          </p:cNvSpPr>
          <p:nvPr>
            <p:ph type="sldNum" sz="quarter" idx="5"/>
          </p:nvPr>
        </p:nvSpPr>
        <p:spPr>
          <a:xfrm>
            <a:off x="3784488" y="63843219"/>
            <a:ext cx="2895201" cy="3360783"/>
          </a:xfrm>
          <a:prstGeom prst="rect">
            <a:avLst/>
          </a:prstGeom>
        </p:spPr>
        <p:txBody>
          <a:bodyPr vert="horz" lIns="181770" tIns="90886" rIns="181770" bIns="90886" rtlCol="0" anchor="b"/>
          <a:lstStyle>
            <a:lvl1pPr algn="r">
              <a:defRPr sz="2400"/>
            </a:lvl1pPr>
          </a:lstStyle>
          <a:p>
            <a:fld id="{DA168281-B8F8-474D-9FE0-8C82ED0FD368}" type="slidenum">
              <a:rPr lang="de-CH" smtClean="0"/>
              <a:pPr/>
              <a:t>‹#›</a:t>
            </a:fld>
            <a:endParaRPr lang="de-CH"/>
          </a:p>
        </p:txBody>
      </p:sp>
    </p:spTree>
    <p:extLst>
      <p:ext uri="{BB962C8B-B14F-4D97-AF65-F5344CB8AC3E}">
        <p14:creationId xmlns:p14="http://schemas.microsoft.com/office/powerpoint/2010/main" val="250006870"/>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DA168281-B8F8-474D-9FE0-8C82ED0FD368}" type="slidenum">
              <a:rPr lang="de-CH" smtClean="0"/>
              <a:pPr/>
              <a:t>1</a:t>
            </a:fld>
            <a:endParaRPr lang="de-CH"/>
          </a:p>
        </p:txBody>
      </p:sp>
    </p:spTree>
    <p:extLst>
      <p:ext uri="{BB962C8B-B14F-4D97-AF65-F5344CB8AC3E}">
        <p14:creationId xmlns:p14="http://schemas.microsoft.com/office/powerpoint/2010/main" val="3264071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Scrum-</a:t>
            </a:r>
            <a:r>
              <a:rPr lang="en-US" err="1"/>
              <a:t>Planung</a:t>
            </a:r>
            <a:endParaRPr lang="en-US"/>
          </a:p>
          <a:p>
            <a:r>
              <a:rPr lang="en-US"/>
              <a:t>2-Wochen-Iterationen</a:t>
            </a:r>
          </a:p>
          <a:p>
            <a:r>
              <a:rPr lang="en-US"/>
              <a:t>Auf </a:t>
            </a:r>
            <a:r>
              <a:rPr lang="en-US" err="1"/>
              <a:t>technische</a:t>
            </a:r>
            <a:r>
              <a:rPr lang="en-US"/>
              <a:t> Spikes </a:t>
            </a:r>
            <a:r>
              <a:rPr lang="en-US" err="1"/>
              <a:t>basierende</a:t>
            </a:r>
            <a:r>
              <a:rPr lang="en-US"/>
              <a:t> </a:t>
            </a:r>
            <a:r>
              <a:rPr lang="en-US" err="1"/>
              <a:t>Technologie-Entscheide</a:t>
            </a:r>
            <a:endParaRPr lang="de-CH"/>
          </a:p>
        </p:txBody>
      </p:sp>
      <p:sp>
        <p:nvSpPr>
          <p:cNvPr id="4" name="Foliennummernplatzhalter 3"/>
          <p:cNvSpPr>
            <a:spLocks noGrp="1"/>
          </p:cNvSpPr>
          <p:nvPr>
            <p:ph type="sldNum" sz="quarter" idx="10"/>
          </p:nvPr>
        </p:nvSpPr>
        <p:spPr/>
        <p:txBody>
          <a:bodyPr/>
          <a:lstStyle/>
          <a:p>
            <a:fld id="{DA168281-B8F8-474D-9FE0-8C82ED0FD368}" type="slidenum">
              <a:rPr lang="de-CH" smtClean="0"/>
              <a:pPr/>
              <a:t>13</a:t>
            </a:fld>
            <a:endParaRPr lang="de-CH"/>
          </a:p>
        </p:txBody>
      </p:sp>
    </p:spTree>
    <p:extLst>
      <p:ext uri="{BB962C8B-B14F-4D97-AF65-F5344CB8AC3E}">
        <p14:creationId xmlns:p14="http://schemas.microsoft.com/office/powerpoint/2010/main" val="1189606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t>Evolvierbare</a:t>
            </a:r>
            <a:r>
              <a:rPr lang="en-US"/>
              <a:t> Architecture</a:t>
            </a:r>
          </a:p>
          <a:p>
            <a:pPr marL="285750" indent="-285750">
              <a:buFont typeface="Arial" panose="020B0604020202020204" pitchFamily="34" charset="0"/>
              <a:buChar char="•"/>
            </a:pPr>
            <a:r>
              <a:rPr lang="en-US" err="1"/>
              <a:t>Bewusst</a:t>
            </a:r>
            <a:r>
              <a:rPr lang="en-US"/>
              <a:t> die Dinge so </a:t>
            </a:r>
            <a:r>
              <a:rPr lang="en-US" err="1"/>
              <a:t>designen</a:t>
            </a:r>
            <a:r>
              <a:rPr lang="en-US"/>
              <a:t>, </a:t>
            </a:r>
            <a:r>
              <a:rPr lang="en-US" err="1"/>
              <a:t>dass</a:t>
            </a:r>
            <a:r>
              <a:rPr lang="en-US"/>
              <a:t> </a:t>
            </a:r>
            <a:r>
              <a:rPr lang="en-US" err="1"/>
              <a:t>zukünftige</a:t>
            </a:r>
            <a:r>
              <a:rPr lang="en-US"/>
              <a:t> </a:t>
            </a:r>
            <a:r>
              <a:rPr lang="en-US" err="1"/>
              <a:t>Änderungen</a:t>
            </a:r>
            <a:r>
              <a:rPr lang="en-US"/>
              <a:t> </a:t>
            </a:r>
            <a:r>
              <a:rPr lang="en-US" err="1"/>
              <a:t>möglich</a:t>
            </a:r>
            <a:r>
              <a:rPr lang="en-US"/>
              <a:t> </a:t>
            </a:r>
            <a:r>
              <a:rPr lang="en-US" err="1"/>
              <a:t>sind</a:t>
            </a:r>
            <a:endParaRPr lang="en-US"/>
          </a:p>
          <a:p>
            <a:pPr marL="285750" indent="-285750">
              <a:buFont typeface="Arial" panose="020B0604020202020204" pitchFamily="34" charset="0"/>
              <a:buChar char="•"/>
            </a:pPr>
            <a:r>
              <a:rPr lang="en-US" err="1"/>
              <a:t>Komponenten</a:t>
            </a:r>
            <a:r>
              <a:rPr lang="en-US"/>
              <a:t> der BL </a:t>
            </a:r>
            <a:r>
              <a:rPr lang="en-US" err="1"/>
              <a:t>austauschbar</a:t>
            </a:r>
            <a:r>
              <a:rPr lang="en-US"/>
              <a:t> und </a:t>
            </a:r>
            <a:r>
              <a:rPr lang="en-US" err="1"/>
              <a:t>isoliert</a:t>
            </a:r>
            <a:r>
              <a:rPr lang="en-US"/>
              <a:t> </a:t>
            </a:r>
            <a:r>
              <a:rPr lang="en-US" err="1"/>
              <a:t>automatisch</a:t>
            </a:r>
            <a:r>
              <a:rPr lang="en-US"/>
              <a:t> </a:t>
            </a:r>
            <a:r>
              <a:rPr lang="en-US" err="1"/>
              <a:t>testbar</a:t>
            </a:r>
            <a:endParaRPr lang="en-US"/>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ie Kunst des </a:t>
            </a:r>
            <a:r>
              <a:rPr lang="en-US" err="1"/>
              <a:t>Nicht-Entscheidens</a:t>
            </a:r>
            <a:endParaRPr lang="en-US"/>
          </a:p>
        </p:txBody>
      </p:sp>
      <p:sp>
        <p:nvSpPr>
          <p:cNvPr id="4" name="Foliennummernplatzhalter 3"/>
          <p:cNvSpPr>
            <a:spLocks noGrp="1"/>
          </p:cNvSpPr>
          <p:nvPr>
            <p:ph type="sldNum" sz="quarter" idx="10"/>
          </p:nvPr>
        </p:nvSpPr>
        <p:spPr/>
        <p:txBody>
          <a:bodyPr/>
          <a:lstStyle/>
          <a:p>
            <a:fld id="{DA168281-B8F8-474D-9FE0-8C82ED0FD368}" type="slidenum">
              <a:rPr lang="de-CH" smtClean="0"/>
              <a:pPr/>
              <a:t>14</a:t>
            </a:fld>
            <a:endParaRPr lang="de-CH"/>
          </a:p>
        </p:txBody>
      </p:sp>
    </p:spTree>
    <p:extLst>
      <p:ext uri="{BB962C8B-B14F-4D97-AF65-F5344CB8AC3E}">
        <p14:creationId xmlns:p14="http://schemas.microsoft.com/office/powerpoint/2010/main" val="3570729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Shape 113"/>
          <p:cNvSpPr txBox="1">
            <a:spLocks noGrp="1"/>
          </p:cNvSpPr>
          <p:nvPr>
            <p:ph type="body" idx="1"/>
          </p:nvPr>
        </p:nvSpPr>
        <p:spPr>
          <a:xfrm>
            <a:off x="668124" y="31927448"/>
            <a:ext cx="5344987" cy="30247051"/>
          </a:xfrm>
          <a:prstGeom prst="rect">
            <a:avLst/>
          </a:prstGeom>
          <a:noFill/>
          <a:ln>
            <a:noFill/>
          </a:ln>
        </p:spPr>
        <p:txBody>
          <a:bodyPr spcFirstLastPara="1" wrap="square" lIns="183874" tIns="183874" rIns="183874" bIns="183874" anchor="ctr" anchorCtr="0">
            <a:noAutofit/>
          </a:bodyPr>
          <a:lstStyle/>
          <a:p>
            <a:r>
              <a:rPr lang="en-US" dirty="0"/>
              <a:t>IoT-Clients </a:t>
            </a:r>
            <a:r>
              <a:rPr lang="en-US" dirty="0" err="1"/>
              <a:t>müssen</a:t>
            </a:r>
            <a:r>
              <a:rPr lang="en-US" dirty="0"/>
              <a:t> </a:t>
            </a:r>
            <a:r>
              <a:rPr lang="en-US" dirty="0" err="1"/>
              <a:t>sich</a:t>
            </a:r>
            <a:r>
              <a:rPr lang="en-US" dirty="0"/>
              <a:t> </a:t>
            </a:r>
            <a:r>
              <a:rPr lang="en-US" dirty="0" err="1"/>
              <a:t>zunächst</a:t>
            </a:r>
            <a:r>
              <a:rPr lang="en-US" dirty="0"/>
              <a:t> </a:t>
            </a:r>
            <a:r>
              <a:rPr lang="en-US" dirty="0" err="1"/>
              <a:t>registrieren</a:t>
            </a:r>
            <a:r>
              <a:rPr lang="en-US" dirty="0"/>
              <a:t>.</a:t>
            </a:r>
          </a:p>
          <a:p>
            <a:r>
              <a:rPr lang="en-US" dirty="0"/>
              <a:t>Dann </a:t>
            </a:r>
            <a:r>
              <a:rPr lang="en-US" dirty="0" err="1"/>
              <a:t>senden</a:t>
            </a:r>
            <a:r>
              <a:rPr lang="en-US" dirty="0"/>
              <a:t> </a:t>
            </a:r>
            <a:r>
              <a:rPr lang="en-US" dirty="0" err="1"/>
              <a:t>sie</a:t>
            </a:r>
            <a:r>
              <a:rPr lang="en-US" dirty="0"/>
              <a:t> </a:t>
            </a:r>
            <a:r>
              <a:rPr lang="en-US" dirty="0" err="1"/>
              <a:t>über</a:t>
            </a:r>
            <a:r>
              <a:rPr lang="en-US" dirty="0"/>
              <a:t> MQTT </a:t>
            </a:r>
            <a:r>
              <a:rPr lang="en-US" dirty="0" err="1"/>
              <a:t>Telemetrie-Daten</a:t>
            </a:r>
            <a:endParaRPr lang="en-US" dirty="0"/>
          </a:p>
          <a:p>
            <a:r>
              <a:rPr lang="en-US" dirty="0" err="1"/>
              <a:t>Alle</a:t>
            </a:r>
            <a:r>
              <a:rPr lang="en-US" dirty="0"/>
              <a:t> </a:t>
            </a:r>
            <a:r>
              <a:rPr lang="en-US" dirty="0" err="1"/>
              <a:t>Teilnehmer</a:t>
            </a:r>
            <a:r>
              <a:rPr lang="en-US" dirty="0"/>
              <a:t>, die </a:t>
            </a:r>
            <a:r>
              <a:rPr lang="en-US" dirty="0" err="1"/>
              <a:t>sich</a:t>
            </a:r>
            <a:r>
              <a:rPr lang="en-US" dirty="0"/>
              <a:t> auf </a:t>
            </a:r>
            <a:r>
              <a:rPr lang="en-US" dirty="0" err="1"/>
              <a:t>ein</a:t>
            </a:r>
            <a:r>
              <a:rPr lang="en-US" dirty="0"/>
              <a:t> </a:t>
            </a:r>
            <a:r>
              <a:rPr lang="en-US" dirty="0" err="1"/>
              <a:t>Gerät</a:t>
            </a:r>
            <a:r>
              <a:rPr lang="en-US" dirty="0"/>
              <a:t> </a:t>
            </a:r>
            <a:r>
              <a:rPr lang="en-US" dirty="0" err="1"/>
              <a:t>gepairt</a:t>
            </a:r>
            <a:r>
              <a:rPr lang="en-US" dirty="0"/>
              <a:t> </a:t>
            </a:r>
            <a:r>
              <a:rPr lang="en-US" dirty="0" err="1"/>
              <a:t>haben</a:t>
            </a:r>
            <a:r>
              <a:rPr lang="en-US" dirty="0"/>
              <a:t>, </a:t>
            </a:r>
            <a:r>
              <a:rPr lang="en-US" dirty="0" err="1"/>
              <a:t>erhalten</a:t>
            </a:r>
            <a:r>
              <a:rPr lang="en-US" dirty="0"/>
              <a:t> die </a:t>
            </a:r>
            <a:r>
              <a:rPr lang="en-US" dirty="0" err="1"/>
              <a:t>Daten</a:t>
            </a:r>
            <a:r>
              <a:rPr lang="en-US" dirty="0"/>
              <a:t>, </a:t>
            </a:r>
            <a:r>
              <a:rPr lang="en-US" dirty="0" err="1"/>
              <a:t>sei</a:t>
            </a:r>
            <a:r>
              <a:rPr lang="en-US" dirty="0"/>
              <a:t> </a:t>
            </a:r>
            <a:r>
              <a:rPr lang="en-US" dirty="0" err="1"/>
              <a:t>es</a:t>
            </a:r>
            <a:r>
              <a:rPr lang="en-US" dirty="0"/>
              <a:t> </a:t>
            </a:r>
            <a:r>
              <a:rPr lang="en-US" dirty="0" err="1"/>
              <a:t>als</a:t>
            </a:r>
            <a:r>
              <a:rPr lang="en-US" dirty="0"/>
              <a:t> Push-Notification, </a:t>
            </a:r>
            <a:r>
              <a:rPr lang="en-US" dirty="0" err="1"/>
              <a:t>oder</a:t>
            </a:r>
            <a:r>
              <a:rPr lang="en-US" dirty="0"/>
              <a:t> in der App.</a:t>
            </a:r>
            <a:endParaRPr dirty="0"/>
          </a:p>
        </p:txBody>
      </p:sp>
      <p:sp>
        <p:nvSpPr>
          <p:cNvPr id="114" name="Shape 114"/>
          <p:cNvSpPr>
            <a:spLocks noGrp="1" noRot="1" noChangeAspect="1"/>
          </p:cNvSpPr>
          <p:nvPr>
            <p:ph type="sldImg" idx="2"/>
          </p:nvPr>
        </p:nvSpPr>
        <p:spPr>
          <a:xfrm>
            <a:off x="-19064288" y="5040313"/>
            <a:ext cx="44810363" cy="25206325"/>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144945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t>Wann</a:t>
            </a:r>
            <a:r>
              <a:rPr lang="en-US"/>
              <a:t> </a:t>
            </a:r>
            <a:r>
              <a:rPr lang="en-US" err="1"/>
              <a:t>werden</a:t>
            </a:r>
            <a:r>
              <a:rPr lang="en-US"/>
              <a:t> </a:t>
            </a:r>
            <a:r>
              <a:rPr lang="en-US" err="1"/>
              <a:t>im</a:t>
            </a:r>
            <a:r>
              <a:rPr lang="en-US"/>
              <a:t> </a:t>
            </a:r>
            <a:r>
              <a:rPr lang="en-US" err="1"/>
              <a:t>Laufenden</a:t>
            </a:r>
            <a:r>
              <a:rPr lang="en-US"/>
              <a:t> </a:t>
            </a:r>
            <a:r>
              <a:rPr lang="en-US" err="1"/>
              <a:t>Betrieb</a:t>
            </a:r>
            <a:r>
              <a:rPr lang="en-US"/>
              <a:t>, </a:t>
            </a:r>
            <a:r>
              <a:rPr lang="en-US" err="1"/>
              <a:t>welche</a:t>
            </a:r>
            <a:r>
              <a:rPr lang="en-US"/>
              <a:t> </a:t>
            </a:r>
            <a:r>
              <a:rPr lang="en-US" err="1"/>
              <a:t>Nachrichten</a:t>
            </a:r>
            <a:r>
              <a:rPr lang="en-US"/>
              <a:t> in die Cloud </a:t>
            </a:r>
            <a:r>
              <a:rPr lang="en-US" err="1"/>
              <a:t>geschickt</a:t>
            </a:r>
            <a:r>
              <a:rPr lang="en-US"/>
              <a:t>?</a:t>
            </a:r>
            <a:endParaRPr lang="de-CH"/>
          </a:p>
        </p:txBody>
      </p:sp>
      <p:sp>
        <p:nvSpPr>
          <p:cNvPr id="4" name="Foliennummernplatzhalter 3"/>
          <p:cNvSpPr>
            <a:spLocks noGrp="1"/>
          </p:cNvSpPr>
          <p:nvPr>
            <p:ph type="sldNum" sz="quarter" idx="10"/>
          </p:nvPr>
        </p:nvSpPr>
        <p:spPr/>
        <p:txBody>
          <a:bodyPr/>
          <a:lstStyle/>
          <a:p>
            <a:fld id="{DA168281-B8F8-474D-9FE0-8C82ED0FD368}" type="slidenum">
              <a:rPr lang="de-CH" smtClean="0"/>
              <a:pPr/>
              <a:t>16</a:t>
            </a:fld>
            <a:endParaRPr lang="de-CH"/>
          </a:p>
        </p:txBody>
      </p:sp>
    </p:spTree>
    <p:extLst>
      <p:ext uri="{BB962C8B-B14F-4D97-AF65-F5344CB8AC3E}">
        <p14:creationId xmlns:p14="http://schemas.microsoft.com/office/powerpoint/2010/main" val="913423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t>Mit</a:t>
            </a:r>
            <a:r>
              <a:rPr lang="en-US"/>
              <a:t> </a:t>
            </a:r>
            <a:r>
              <a:rPr lang="en-US" err="1"/>
              <a:t>dieser</a:t>
            </a:r>
            <a:r>
              <a:rPr lang="en-US"/>
              <a:t> Information und den </a:t>
            </a:r>
            <a:r>
              <a:rPr lang="en-US" err="1"/>
              <a:t>benötigten</a:t>
            </a:r>
            <a:r>
              <a:rPr lang="en-US"/>
              <a:t> Azure-</a:t>
            </a:r>
            <a:r>
              <a:rPr lang="en-US" err="1"/>
              <a:t>Komponenten</a:t>
            </a:r>
            <a:r>
              <a:rPr lang="en-US"/>
              <a:t> </a:t>
            </a:r>
            <a:r>
              <a:rPr lang="en-US" err="1"/>
              <a:t>lässt</a:t>
            </a:r>
            <a:r>
              <a:rPr lang="en-US"/>
              <a:t> </a:t>
            </a:r>
            <a:r>
              <a:rPr lang="en-US" err="1"/>
              <a:t>sich</a:t>
            </a:r>
            <a:r>
              <a:rPr lang="en-US"/>
              <a:t> </a:t>
            </a:r>
            <a:r>
              <a:rPr lang="en-US" err="1"/>
              <a:t>ein</a:t>
            </a:r>
            <a:r>
              <a:rPr lang="en-US"/>
              <a:t> </a:t>
            </a:r>
            <a:r>
              <a:rPr lang="en-US" err="1"/>
              <a:t>grobes</a:t>
            </a:r>
            <a:r>
              <a:rPr lang="en-US"/>
              <a:t> </a:t>
            </a:r>
            <a:r>
              <a:rPr lang="en-US" err="1"/>
              <a:t>Kostenmodell</a:t>
            </a:r>
            <a:r>
              <a:rPr lang="en-US"/>
              <a:t> </a:t>
            </a:r>
            <a:r>
              <a:rPr lang="en-US" err="1"/>
              <a:t>erzeugen</a:t>
            </a:r>
            <a:r>
              <a:rPr lang="en-US"/>
              <a:t>.</a:t>
            </a:r>
          </a:p>
          <a:p>
            <a:endParaRPr lang="de-CH"/>
          </a:p>
        </p:txBody>
      </p:sp>
      <p:sp>
        <p:nvSpPr>
          <p:cNvPr id="4" name="Foliennummernplatzhalter 3"/>
          <p:cNvSpPr>
            <a:spLocks noGrp="1"/>
          </p:cNvSpPr>
          <p:nvPr>
            <p:ph type="sldNum" sz="quarter" idx="10"/>
          </p:nvPr>
        </p:nvSpPr>
        <p:spPr/>
        <p:txBody>
          <a:bodyPr/>
          <a:lstStyle/>
          <a:p>
            <a:fld id="{DA168281-B8F8-474D-9FE0-8C82ED0FD368}" type="slidenum">
              <a:rPr lang="de-CH" smtClean="0"/>
              <a:pPr/>
              <a:t>17</a:t>
            </a:fld>
            <a:endParaRPr lang="de-CH"/>
          </a:p>
        </p:txBody>
      </p:sp>
    </p:spTree>
    <p:extLst>
      <p:ext uri="{BB962C8B-B14F-4D97-AF65-F5344CB8AC3E}">
        <p14:creationId xmlns:p14="http://schemas.microsoft.com/office/powerpoint/2010/main" val="2407254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61965" lvl="0" indent="-285750" defTabSz="914400"/>
            <a:r>
              <a:rPr lang="en-US" sz="2800" kern="0" dirty="0"/>
              <a:t>P</a:t>
            </a:r>
            <a:r>
              <a:rPr lang="de-CH" sz="2800" kern="0" dirty="0" err="1"/>
              <a:t>aaS</a:t>
            </a:r>
            <a:endParaRPr lang="de-CH" sz="2800" kern="0" dirty="0"/>
          </a:p>
          <a:p>
            <a:pPr marL="533415" lvl="0" indent="-457200" defTabSz="914400">
              <a:buFont typeface="Arial" panose="020B0604020202020204" pitchFamily="34" charset="0"/>
              <a:buChar char="•"/>
            </a:pPr>
            <a:r>
              <a:rPr lang="de-CH" sz="2800" kern="0" dirty="0" err="1"/>
              <a:t>Managed</a:t>
            </a:r>
            <a:r>
              <a:rPr lang="de-CH" sz="2800" kern="0" dirty="0"/>
              <a:t> Services</a:t>
            </a:r>
          </a:p>
          <a:p>
            <a:pPr marL="533415" lvl="0" indent="-457200" defTabSz="914400">
              <a:buFont typeface="Arial" panose="020B0604020202020204" pitchFamily="34" charset="0"/>
              <a:buChar char="•"/>
            </a:pPr>
            <a:r>
              <a:rPr lang="de-CH" sz="2800" kern="0" dirty="0"/>
              <a:t>Konformität mit internationalen und industrie-spezifischen und Security and Privacy-Standards (GDPR, ISO 27001)</a:t>
            </a:r>
          </a:p>
          <a:p>
            <a:pPr marL="533415" lvl="0" indent="-457200" defTabSz="914400">
              <a:buFont typeface="Arial" panose="020B0604020202020204" pitchFamily="34" charset="0"/>
              <a:buChar char="•"/>
            </a:pPr>
            <a:r>
              <a:rPr lang="de-CH" sz="2800" kern="0" dirty="0"/>
              <a:t>Monitoring</a:t>
            </a:r>
          </a:p>
          <a:p>
            <a:pPr marL="533415" lvl="0" indent="-457200" defTabSz="914400">
              <a:buFont typeface="Arial" panose="020B0604020202020204" pitchFamily="34" charset="0"/>
              <a:buChar char="•"/>
            </a:pPr>
            <a:endParaRPr lang="en-US" sz="2800" kern="0" dirty="0"/>
          </a:p>
          <a:p>
            <a:r>
              <a:rPr lang="en-US" sz="2800" dirty="0"/>
              <a:t>DevOps-Philosophie </a:t>
            </a:r>
            <a:r>
              <a:rPr lang="en-US" sz="2800" dirty="0" err="1"/>
              <a:t>gelebt</a:t>
            </a:r>
            <a:endParaRPr lang="en-US" sz="2800" dirty="0"/>
          </a:p>
          <a:p>
            <a:pPr marL="457200" indent="-457200">
              <a:buFont typeface="Arial" panose="020B0604020202020204" pitchFamily="34" charset="0"/>
              <a:buChar char="•"/>
            </a:pPr>
            <a:r>
              <a:rPr lang="en-US" sz="2800" kern="0" dirty="0"/>
              <a:t>T</a:t>
            </a:r>
            <a:r>
              <a:rPr lang="de-CH" sz="2800" kern="0" dirty="0" err="1"/>
              <a:t>est</a:t>
            </a:r>
            <a:r>
              <a:rPr lang="de-CH" sz="2800" kern="0" dirty="0"/>
              <a:t>- und </a:t>
            </a:r>
            <a:r>
              <a:rPr lang="de-CH" sz="2800" kern="0" dirty="0" err="1"/>
              <a:t>Prod</a:t>
            </a:r>
            <a:r>
              <a:rPr lang="de-CH" sz="2800" kern="0" dirty="0"/>
              <a:t>-Umgebung</a:t>
            </a:r>
          </a:p>
          <a:p>
            <a:pPr marL="457200" indent="-457200">
              <a:buFont typeface="Arial" panose="020B0604020202020204" pitchFamily="34" charset="0"/>
              <a:buChar char="•"/>
            </a:pPr>
            <a:r>
              <a:rPr lang="en-US" sz="2800" kern="0" dirty="0" err="1"/>
              <a:t>Schnelle</a:t>
            </a:r>
            <a:r>
              <a:rPr lang="en-US" sz="2800" kern="0" dirty="0"/>
              <a:t> R</a:t>
            </a:r>
            <a:r>
              <a:rPr lang="de-CH" sz="2800" kern="0" dirty="0" err="1"/>
              <a:t>elease</a:t>
            </a:r>
            <a:r>
              <a:rPr lang="de-CH" sz="2800" kern="0" dirty="0"/>
              <a:t>-Zyklen, </a:t>
            </a:r>
            <a:r>
              <a:rPr lang="de-CH" sz="2800" kern="0" dirty="0" err="1"/>
              <a:t>autom</a:t>
            </a:r>
            <a:r>
              <a:rPr lang="de-CH" sz="2800" kern="0" dirty="0"/>
              <a:t>. </a:t>
            </a:r>
            <a:r>
              <a:rPr lang="de-CH" sz="2800" kern="0" dirty="0" err="1"/>
              <a:t>Deployment</a:t>
            </a:r>
            <a:endParaRPr lang="de-CH" sz="2800" kern="0" dirty="0"/>
          </a:p>
          <a:p>
            <a:pPr marL="457200" indent="-457200">
              <a:buFont typeface="Arial" panose="020B0604020202020204" pitchFamily="34" charset="0"/>
              <a:buChar char="•"/>
            </a:pPr>
            <a:r>
              <a:rPr lang="en-US" sz="2800" kern="0" dirty="0"/>
              <a:t>P</a:t>
            </a:r>
            <a:r>
              <a:rPr lang="de-CH" sz="2800" kern="0" dirty="0" err="1"/>
              <a:t>lanung</a:t>
            </a:r>
            <a:r>
              <a:rPr lang="de-CH" sz="2800" kern="0" dirty="0"/>
              <a:t> integriert mit Entwicklungsumgebung</a:t>
            </a:r>
          </a:p>
          <a:p>
            <a:pPr marL="533415" lvl="0" indent="-457200" defTabSz="914400">
              <a:buFont typeface="Arial" panose="020B0604020202020204" pitchFamily="34" charset="0"/>
              <a:buChar char="•"/>
            </a:pPr>
            <a:endParaRPr lang="de-CH" sz="2800" kern="0" dirty="0"/>
          </a:p>
          <a:p>
            <a:endParaRPr lang="de-CH" dirty="0"/>
          </a:p>
        </p:txBody>
      </p:sp>
      <p:sp>
        <p:nvSpPr>
          <p:cNvPr id="4" name="Foliennummernplatzhalter 3"/>
          <p:cNvSpPr>
            <a:spLocks noGrp="1"/>
          </p:cNvSpPr>
          <p:nvPr>
            <p:ph type="sldNum" sz="quarter" idx="10"/>
          </p:nvPr>
        </p:nvSpPr>
        <p:spPr/>
        <p:txBody>
          <a:bodyPr/>
          <a:lstStyle/>
          <a:p>
            <a:fld id="{DA168281-B8F8-474D-9FE0-8C82ED0FD368}" type="slidenum">
              <a:rPr lang="de-CH" smtClean="0"/>
              <a:pPr/>
              <a:t>18</a:t>
            </a:fld>
            <a:endParaRPr lang="de-CH"/>
          </a:p>
        </p:txBody>
      </p:sp>
    </p:spTree>
    <p:extLst>
      <p:ext uri="{BB962C8B-B14F-4D97-AF65-F5344CB8AC3E}">
        <p14:creationId xmlns:p14="http://schemas.microsoft.com/office/powerpoint/2010/main" val="1639453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514350" indent="-285750">
              <a:buChar char="•"/>
            </a:pPr>
            <a:r>
              <a:rPr lang="de-CH" dirty="0"/>
              <a:t>Analyse und Reporting </a:t>
            </a:r>
            <a:endParaRPr lang="de-CH" sz="2800"/>
          </a:p>
          <a:p>
            <a:pPr marL="971550" lvl="1" indent="-285750"/>
            <a:r>
              <a:rPr lang="de-CH" dirty="0"/>
              <a:t>Big Data</a:t>
            </a:r>
            <a:endParaRPr lang="de-CH" dirty="0">
              <a:cs typeface="Calibri"/>
            </a:endParaRPr>
          </a:p>
          <a:p>
            <a:pPr marL="514350" indent="-285750">
              <a:spcBef>
                <a:spcPts val="600"/>
              </a:spcBef>
              <a:buChar char="•"/>
            </a:pPr>
            <a:r>
              <a:rPr lang="de-CH" dirty="0"/>
              <a:t>Basis schaffen für weitere Services und Dienstleistungen</a:t>
            </a:r>
            <a:endParaRPr lang="de-CH" dirty="0">
              <a:cs typeface="Calibri"/>
            </a:endParaRPr>
          </a:p>
          <a:p>
            <a:pPr marL="608330" lvl="1" indent="-285750">
              <a:spcBef>
                <a:spcPts val="600"/>
              </a:spcBef>
              <a:buChar char="•"/>
            </a:pPr>
            <a:r>
              <a:rPr lang="de-CH" dirty="0"/>
              <a:t>Remote Update von Soft- und Firmware</a:t>
            </a:r>
            <a:endParaRPr lang="de-CH" dirty="0">
              <a:cs typeface="Calibri"/>
            </a:endParaRPr>
          </a:p>
          <a:p>
            <a:pPr marL="608330" lvl="1" indent="-285750">
              <a:spcBef>
                <a:spcPts val="600"/>
              </a:spcBef>
              <a:buChar char="•"/>
            </a:pPr>
            <a:r>
              <a:rPr lang="de-CH" dirty="0"/>
              <a:t>Allg. Maintenance-Bereich</a:t>
            </a:r>
            <a:endParaRPr lang="de-CH" dirty="0">
              <a:cs typeface="Calibri"/>
            </a:endParaRPr>
          </a:p>
          <a:p>
            <a:pPr marL="608330" lvl="1" indent="-285750">
              <a:spcBef>
                <a:spcPts val="600"/>
              </a:spcBef>
              <a:buChar char="•"/>
            </a:pPr>
            <a:r>
              <a:rPr lang="de-CH" dirty="0">
                <a:cs typeface="Calibri"/>
              </a:rPr>
              <a:t>Aber auch --&gt; </a:t>
            </a:r>
            <a:r>
              <a:rPr lang="de-CH" dirty="0" err="1"/>
              <a:t>Preventive</a:t>
            </a:r>
            <a:r>
              <a:rPr lang="de-CH" dirty="0"/>
              <a:t> und ev. </a:t>
            </a:r>
            <a:r>
              <a:rPr lang="de-CH" dirty="0" err="1"/>
              <a:t>Predictive</a:t>
            </a:r>
            <a:r>
              <a:rPr lang="de-CH" dirty="0"/>
              <a:t> Maintenance</a:t>
            </a:r>
            <a:endParaRPr lang="de-CH" dirty="0" err="1">
              <a:cs typeface="Calibri"/>
            </a:endParaRPr>
          </a:p>
          <a:p>
            <a:pPr marL="608330" lvl="1">
              <a:spcBef>
                <a:spcPts val="600"/>
              </a:spcBef>
            </a:pPr>
            <a:endParaRPr lang="de-CH" dirty="0"/>
          </a:p>
          <a:p>
            <a:pPr marL="571500" indent="-342900">
              <a:spcBef>
                <a:spcPts val="600"/>
              </a:spcBef>
              <a:buFont typeface="Arial" panose="020B0604020202020204" pitchFamily="34" charset="0"/>
              <a:buChar char="•"/>
            </a:pPr>
            <a:r>
              <a:rPr lang="de-CH" dirty="0"/>
              <a:t>Geräte-Funktionen</a:t>
            </a:r>
            <a:endParaRPr lang="de-CH" dirty="0">
              <a:cs typeface="Calibri"/>
            </a:endParaRPr>
          </a:p>
          <a:p>
            <a:pPr marL="934720">
              <a:spcBef>
                <a:spcPts val="600"/>
              </a:spcBef>
              <a:buFont typeface="Arial" panose="020B0604020202020204" pitchFamily="34" charset="0"/>
              <a:buChar char="•"/>
            </a:pPr>
            <a:r>
              <a:rPr lang="de-CH" dirty="0"/>
              <a:t> Gezielten Eingriff ermöglichen, z.B. Not-Stopp</a:t>
            </a:r>
            <a:endParaRPr lang="de-CH" dirty="0">
              <a:cs typeface="Calibri"/>
            </a:endParaRPr>
          </a:p>
          <a:p>
            <a:endParaRPr lang="de-CH"/>
          </a:p>
        </p:txBody>
      </p:sp>
      <p:sp>
        <p:nvSpPr>
          <p:cNvPr id="4" name="Foliennummernplatzhalter 3"/>
          <p:cNvSpPr>
            <a:spLocks noGrp="1"/>
          </p:cNvSpPr>
          <p:nvPr>
            <p:ph type="sldNum" sz="quarter" idx="10"/>
          </p:nvPr>
        </p:nvSpPr>
        <p:spPr/>
        <p:txBody>
          <a:bodyPr/>
          <a:lstStyle/>
          <a:p>
            <a:fld id="{DA168281-B8F8-474D-9FE0-8C82ED0FD368}" type="slidenum">
              <a:rPr lang="de-CH" smtClean="0"/>
              <a:pPr/>
              <a:t>19</a:t>
            </a:fld>
            <a:endParaRPr lang="de-CH"/>
          </a:p>
        </p:txBody>
      </p:sp>
    </p:spTree>
    <p:extLst>
      <p:ext uri="{BB962C8B-B14F-4D97-AF65-F5344CB8AC3E}">
        <p14:creationId xmlns:p14="http://schemas.microsoft.com/office/powerpoint/2010/main" val="2397720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Shape 142"/>
          <p:cNvSpPr txBox="1">
            <a:spLocks noGrp="1"/>
          </p:cNvSpPr>
          <p:nvPr>
            <p:ph type="body" idx="1"/>
          </p:nvPr>
        </p:nvSpPr>
        <p:spPr>
          <a:xfrm>
            <a:off x="668124" y="31927448"/>
            <a:ext cx="5344987" cy="30247051"/>
          </a:xfrm>
          <a:prstGeom prst="rect">
            <a:avLst/>
          </a:prstGeom>
          <a:noFill/>
          <a:ln>
            <a:noFill/>
          </a:ln>
        </p:spPr>
        <p:txBody>
          <a:bodyPr spcFirstLastPara="1" wrap="square" lIns="183874" tIns="183874" rIns="183874" bIns="183874" anchor="ctr" anchorCtr="0">
            <a:noAutofit/>
          </a:bodyPr>
          <a:lstStyle/>
          <a:p>
            <a:endParaRPr/>
          </a:p>
        </p:txBody>
      </p:sp>
      <p:sp>
        <p:nvSpPr>
          <p:cNvPr id="143" name="Shape 143"/>
          <p:cNvSpPr>
            <a:spLocks noGrp="1" noRot="1" noChangeAspect="1"/>
          </p:cNvSpPr>
          <p:nvPr>
            <p:ph type="sldImg" idx="2"/>
          </p:nvPr>
        </p:nvSpPr>
        <p:spPr>
          <a:xfrm>
            <a:off x="-19064288" y="5040313"/>
            <a:ext cx="44810363" cy="25206325"/>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1293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Wie</a:t>
            </a:r>
            <a:r>
              <a:rPr lang="en-US" dirty="0"/>
              <a:t> </a:t>
            </a:r>
            <a:r>
              <a:rPr lang="en-US" dirty="0" err="1"/>
              <a:t>können</a:t>
            </a:r>
            <a:r>
              <a:rPr lang="en-US" dirty="0"/>
              <a:t> </a:t>
            </a:r>
            <a:r>
              <a:rPr lang="en-US" dirty="0" err="1"/>
              <a:t>wir</a:t>
            </a:r>
            <a:r>
              <a:rPr lang="en-US" dirty="0"/>
              <a:t> die </a:t>
            </a:r>
            <a:r>
              <a:rPr lang="en-US" dirty="0" err="1"/>
              <a:t>Daten</a:t>
            </a:r>
            <a:r>
              <a:rPr lang="en-US" dirty="0"/>
              <a:t> IHRER </a:t>
            </a:r>
            <a:r>
              <a:rPr lang="en-US" dirty="0" err="1"/>
              <a:t>Geräte</a:t>
            </a:r>
            <a:r>
              <a:rPr lang="en-US" dirty="0"/>
              <a:t>, </a:t>
            </a:r>
            <a:r>
              <a:rPr lang="en-US" dirty="0" err="1"/>
              <a:t>zum</a:t>
            </a:r>
            <a:r>
              <a:rPr lang="en-US" dirty="0"/>
              <a:t> </a:t>
            </a:r>
            <a:r>
              <a:rPr lang="en-US" dirty="0" err="1"/>
              <a:t>einen</a:t>
            </a:r>
            <a:r>
              <a:rPr lang="en-US" dirty="0"/>
              <a:t> SICHER </a:t>
            </a:r>
            <a:r>
              <a:rPr lang="en-US" dirty="0" err="1"/>
              <a:t>halten</a:t>
            </a:r>
            <a:r>
              <a:rPr lang="en-US" dirty="0"/>
              <a:t>, und </a:t>
            </a:r>
            <a:r>
              <a:rPr lang="en-US" dirty="0" err="1"/>
              <a:t>auch</a:t>
            </a:r>
            <a:r>
              <a:rPr lang="en-US" dirty="0"/>
              <a:t> so </a:t>
            </a:r>
            <a:r>
              <a:rPr lang="en-US" dirty="0" err="1"/>
              <a:t>dass</a:t>
            </a:r>
            <a:r>
              <a:rPr lang="en-US" dirty="0"/>
              <a:t> </a:t>
            </a:r>
            <a:r>
              <a:rPr lang="en-US" dirty="0" err="1"/>
              <a:t>sie</a:t>
            </a:r>
            <a:r>
              <a:rPr lang="en-US" dirty="0"/>
              <a:t> BEIZEITEN </a:t>
            </a:r>
            <a:r>
              <a:rPr lang="en-US" dirty="0" err="1"/>
              <a:t>zu</a:t>
            </a:r>
            <a:r>
              <a:rPr lang="en-US" dirty="0"/>
              <a:t> den </a:t>
            </a:r>
            <a:r>
              <a:rPr lang="en-US" dirty="0" err="1"/>
              <a:t>richtigen</a:t>
            </a:r>
            <a:r>
              <a:rPr lang="en-US" dirty="0"/>
              <a:t> </a:t>
            </a:r>
            <a:r>
              <a:rPr lang="en-US" dirty="0" err="1"/>
              <a:t>Personen</a:t>
            </a:r>
            <a:r>
              <a:rPr lang="en-US" dirty="0"/>
              <a:t> </a:t>
            </a:r>
            <a:r>
              <a:rPr lang="en-US" dirty="0" err="1"/>
              <a:t>kommen</a:t>
            </a:r>
            <a:r>
              <a:rPr lang="en-US" dirty="0"/>
              <a:t>?</a:t>
            </a:r>
          </a:p>
          <a:p>
            <a:r>
              <a:rPr lang="en-US" dirty="0"/>
              <a:t>Mein Name </a:t>
            </a:r>
            <a:r>
              <a:rPr lang="en-US" dirty="0" err="1"/>
              <a:t>ist</a:t>
            </a:r>
            <a:r>
              <a:rPr lang="en-US" dirty="0"/>
              <a:t> Antonino Leanza und </a:t>
            </a:r>
            <a:r>
              <a:rPr lang="en-US" dirty="0" err="1"/>
              <a:t>konnte</a:t>
            </a:r>
            <a:r>
              <a:rPr lang="en-US" dirty="0"/>
              <a:t> </a:t>
            </a:r>
            <a:r>
              <a:rPr lang="en-US" dirty="0" err="1"/>
              <a:t>vor</a:t>
            </a:r>
            <a:r>
              <a:rPr lang="en-US" dirty="0"/>
              <a:t> </a:t>
            </a:r>
            <a:r>
              <a:rPr lang="en-US" dirty="0" err="1"/>
              <a:t>einigen</a:t>
            </a:r>
            <a:r>
              <a:rPr lang="en-US" dirty="0"/>
              <a:t> </a:t>
            </a:r>
            <a:r>
              <a:rPr lang="en-US" dirty="0" err="1"/>
              <a:t>Monaten</a:t>
            </a:r>
            <a:r>
              <a:rPr lang="en-US" dirty="0"/>
              <a:t> </a:t>
            </a:r>
            <a:r>
              <a:rPr lang="en-US" dirty="0" err="1"/>
              <a:t>als</a:t>
            </a:r>
            <a:r>
              <a:rPr lang="en-US" dirty="0"/>
              <a:t> </a:t>
            </a:r>
            <a:r>
              <a:rPr lang="en-US" dirty="0" err="1"/>
              <a:t>Architekt</a:t>
            </a:r>
            <a:r>
              <a:rPr lang="en-US" dirty="0"/>
              <a:t> </a:t>
            </a:r>
            <a:r>
              <a:rPr lang="en-US" dirty="0" err="1"/>
              <a:t>dieser</a:t>
            </a:r>
            <a:r>
              <a:rPr lang="en-US" dirty="0"/>
              <a:t> </a:t>
            </a:r>
            <a:r>
              <a:rPr lang="en-US" dirty="0" err="1"/>
              <a:t>Frage</a:t>
            </a:r>
            <a:r>
              <a:rPr lang="en-US" dirty="0"/>
              <a:t> </a:t>
            </a:r>
            <a:r>
              <a:rPr lang="en-US" dirty="0" err="1"/>
              <a:t>nachgehen</a:t>
            </a:r>
            <a:r>
              <a:rPr lang="en-US" dirty="0"/>
              <a:t>, in </a:t>
            </a:r>
            <a:r>
              <a:rPr lang="en-US" dirty="0" err="1"/>
              <a:t>einem</a:t>
            </a:r>
            <a:r>
              <a:rPr lang="en-US" dirty="0"/>
              <a:t> </a:t>
            </a:r>
            <a:r>
              <a:rPr lang="en-US" dirty="0" err="1"/>
              <a:t>echt</a:t>
            </a:r>
            <a:r>
              <a:rPr lang="en-US" dirty="0"/>
              <a:t> COOLEN </a:t>
            </a:r>
            <a:r>
              <a:rPr lang="en-US" dirty="0" err="1"/>
              <a:t>Projekt</a:t>
            </a:r>
            <a:r>
              <a:rPr lang="en-US" dirty="0"/>
              <a:t>!</a:t>
            </a:r>
          </a:p>
          <a:p>
            <a:r>
              <a:rPr lang="en-US" dirty="0" err="1"/>
              <a:t>Heute</a:t>
            </a:r>
            <a:r>
              <a:rPr lang="en-US" dirty="0"/>
              <a:t> “</a:t>
            </a:r>
            <a:r>
              <a:rPr lang="en-US" dirty="0" err="1"/>
              <a:t>plaudere</a:t>
            </a:r>
            <a:r>
              <a:rPr lang="en-US" dirty="0"/>
              <a:t> </a:t>
            </a:r>
            <a:r>
              <a:rPr lang="en-US" dirty="0" err="1"/>
              <a:t>ich</a:t>
            </a:r>
            <a:r>
              <a:rPr lang="en-US" dirty="0"/>
              <a:t> </a:t>
            </a:r>
            <a:r>
              <a:rPr lang="en-US" dirty="0" err="1"/>
              <a:t>mit</a:t>
            </a:r>
            <a:r>
              <a:rPr lang="en-US" dirty="0"/>
              <a:t> </a:t>
            </a:r>
            <a:r>
              <a:rPr lang="en-US" dirty="0" err="1"/>
              <a:t>Ihnen</a:t>
            </a:r>
            <a:r>
              <a:rPr lang="en-US" dirty="0"/>
              <a:t> </a:t>
            </a:r>
            <a:r>
              <a:rPr lang="en-US" dirty="0" err="1"/>
              <a:t>aus</a:t>
            </a:r>
            <a:r>
              <a:rPr lang="en-US" dirty="0"/>
              <a:t> </a:t>
            </a:r>
            <a:r>
              <a:rPr lang="en-US" dirty="0" err="1"/>
              <a:t>dem</a:t>
            </a:r>
            <a:r>
              <a:rPr lang="en-US" dirty="0"/>
              <a:t> </a:t>
            </a:r>
            <a:r>
              <a:rPr lang="en-US" dirty="0" err="1"/>
              <a:t>Nähkästchen</a:t>
            </a:r>
            <a:r>
              <a:rPr lang="en-US" dirty="0"/>
              <a:t>” </a:t>
            </a:r>
            <a:r>
              <a:rPr lang="en-US" dirty="0" err="1"/>
              <a:t>darüber</a:t>
            </a:r>
            <a:r>
              <a:rPr lang="en-US" dirty="0"/>
              <a:t>, und </a:t>
            </a:r>
            <a:r>
              <a:rPr lang="en-US" dirty="0" err="1"/>
              <a:t>es</a:t>
            </a:r>
            <a:r>
              <a:rPr lang="en-US" dirty="0"/>
              <a:t> </a:t>
            </a:r>
            <a:r>
              <a:rPr lang="en-US" dirty="0" err="1"/>
              <a:t>freut</a:t>
            </a:r>
            <a:r>
              <a:rPr lang="en-US" dirty="0"/>
              <a:t> </a:t>
            </a:r>
            <a:r>
              <a:rPr lang="en-US" dirty="0" err="1"/>
              <a:t>mich</a:t>
            </a:r>
            <a:r>
              <a:rPr lang="en-US" dirty="0"/>
              <a:t> </a:t>
            </a:r>
            <a:r>
              <a:rPr lang="en-US" dirty="0" err="1"/>
              <a:t>sehr</a:t>
            </a:r>
            <a:r>
              <a:rPr lang="en-US" dirty="0"/>
              <a:t>, das </a:t>
            </a:r>
            <a:r>
              <a:rPr lang="en-US" dirty="0" err="1"/>
              <a:t>zusammen</a:t>
            </a:r>
            <a:r>
              <a:rPr lang="en-US" dirty="0"/>
              <a:t> </a:t>
            </a:r>
            <a:r>
              <a:rPr lang="en-US" dirty="0" err="1"/>
              <a:t>mit</a:t>
            </a:r>
            <a:r>
              <a:rPr lang="en-US" dirty="0"/>
              <a:t> </a:t>
            </a:r>
            <a:r>
              <a:rPr lang="en-US" dirty="0" err="1"/>
              <a:t>unseren</a:t>
            </a:r>
            <a:r>
              <a:rPr lang="en-US" dirty="0"/>
              <a:t> </a:t>
            </a:r>
            <a:r>
              <a:rPr lang="en-US" dirty="0" err="1"/>
              <a:t>Kunden</a:t>
            </a:r>
            <a:r>
              <a:rPr lang="en-US" dirty="0"/>
              <a:t> </a:t>
            </a:r>
            <a:r>
              <a:rPr lang="en-US" dirty="0" err="1"/>
              <a:t>zu</a:t>
            </a:r>
            <a:r>
              <a:rPr lang="en-US" dirty="0"/>
              <a:t> </a:t>
            </a:r>
            <a:r>
              <a:rPr lang="en-US" dirty="0" err="1"/>
              <a:t>machen</a:t>
            </a:r>
            <a:r>
              <a:rPr lang="en-US" dirty="0"/>
              <a:t>! </a:t>
            </a:r>
            <a:r>
              <a:rPr lang="en-US" dirty="0" err="1"/>
              <a:t>Nämlich</a:t>
            </a:r>
            <a:r>
              <a:rPr lang="en-US" dirty="0"/>
              <a:t>…</a:t>
            </a:r>
          </a:p>
          <a:p>
            <a:endParaRPr lang="en-US" dirty="0"/>
          </a:p>
          <a:p>
            <a:r>
              <a:rPr lang="en-US" dirty="0"/>
              <a:t>…</a:t>
            </a:r>
            <a:r>
              <a:rPr lang="en-US" dirty="0" err="1"/>
              <a:t>mit</a:t>
            </a:r>
            <a:r>
              <a:rPr lang="en-US" dirty="0"/>
              <a:t> Ignaz Kressibucher von der </a:t>
            </a:r>
            <a:r>
              <a:rPr lang="en-US" dirty="0" err="1"/>
              <a:t>Firma</a:t>
            </a:r>
            <a:r>
              <a:rPr lang="en-US" dirty="0"/>
              <a:t> Agathon. </a:t>
            </a:r>
          </a:p>
          <a:p>
            <a:r>
              <a:rPr lang="en-US" dirty="0"/>
              <a:t>Auch </a:t>
            </a:r>
            <a:r>
              <a:rPr lang="en-US" dirty="0" err="1"/>
              <a:t>mich</a:t>
            </a:r>
            <a:r>
              <a:rPr lang="en-US" dirty="0"/>
              <a:t> </a:t>
            </a:r>
            <a:r>
              <a:rPr lang="en-US" dirty="0" err="1"/>
              <a:t>freut</a:t>
            </a:r>
            <a:r>
              <a:rPr lang="en-US" dirty="0"/>
              <a:t> es, </a:t>
            </a:r>
            <a:r>
              <a:rPr lang="en-US" dirty="0" err="1"/>
              <a:t>einerseits</a:t>
            </a:r>
            <a:r>
              <a:rPr lang="en-US" dirty="0"/>
              <a:t> </a:t>
            </a:r>
            <a:r>
              <a:rPr lang="en-US" dirty="0" err="1"/>
              <a:t>etwas</a:t>
            </a:r>
            <a:r>
              <a:rPr lang="en-US" dirty="0"/>
              <a:t> </a:t>
            </a:r>
            <a:r>
              <a:rPr lang="en-US" dirty="0" err="1"/>
              <a:t>über</a:t>
            </a:r>
            <a:r>
              <a:rPr lang="en-US" dirty="0"/>
              <a:t> AGATHON und </a:t>
            </a:r>
            <a:r>
              <a:rPr lang="en-US" dirty="0" err="1"/>
              <a:t>vor</a:t>
            </a:r>
            <a:r>
              <a:rPr lang="en-US" dirty="0"/>
              <a:t> </a:t>
            </a:r>
            <a:r>
              <a:rPr lang="en-US" dirty="0" err="1"/>
              <a:t>allem</a:t>
            </a:r>
            <a:r>
              <a:rPr lang="en-US" dirty="0"/>
              <a:t> von </a:t>
            </a:r>
            <a:r>
              <a:rPr lang="en-US" dirty="0" err="1"/>
              <a:t>unserem</a:t>
            </a:r>
            <a:r>
              <a:rPr lang="en-US" dirty="0"/>
              <a:t> </a:t>
            </a:r>
            <a:r>
              <a:rPr lang="en-US" dirty="0" err="1"/>
              <a:t>gemeinsam</a:t>
            </a:r>
            <a:r>
              <a:rPr lang="en-US" dirty="0"/>
              <a:t> </a:t>
            </a:r>
            <a:r>
              <a:rPr lang="en-US" dirty="0" err="1"/>
              <a:t>entwickelten</a:t>
            </a:r>
            <a:r>
              <a:rPr lang="en-US" dirty="0"/>
              <a:t> </a:t>
            </a:r>
            <a:r>
              <a:rPr lang="en-US" dirty="0" err="1"/>
              <a:t>Produkt</a:t>
            </a:r>
            <a:r>
              <a:rPr lang="en-US" dirty="0"/>
              <a:t> </a:t>
            </a:r>
            <a:r>
              <a:rPr lang="en-US" dirty="0" err="1"/>
              <a:t>etwas</a:t>
            </a:r>
            <a:r>
              <a:rPr lang="en-US" dirty="0"/>
              <a:t> </a:t>
            </a:r>
            <a:r>
              <a:rPr lang="en-US" dirty="0" err="1"/>
              <a:t>zu</a:t>
            </a:r>
            <a:r>
              <a:rPr lang="en-US" dirty="0"/>
              <a:t> </a:t>
            </a:r>
            <a:r>
              <a:rPr lang="en-US" dirty="0" err="1"/>
              <a:t>erzählen</a:t>
            </a:r>
            <a:r>
              <a:rPr lang="en-US" dirty="0"/>
              <a:t>.</a:t>
            </a:r>
          </a:p>
          <a:p>
            <a:endParaRPr lang="en-US" dirty="0"/>
          </a:p>
          <a:p>
            <a:pPr marL="0" marR="0" lvl="0" indent="0" algn="l" defTabSz="1219170" rtl="0" eaLnBrk="1" fontAlgn="auto" latinLnBrk="0" hangingPunct="1">
              <a:lnSpc>
                <a:spcPct val="100000"/>
              </a:lnSpc>
              <a:spcBef>
                <a:spcPts val="0"/>
              </a:spcBef>
              <a:spcAft>
                <a:spcPts val="0"/>
              </a:spcAft>
              <a:buClrTx/>
              <a:buSzTx/>
              <a:buFontTx/>
              <a:buNone/>
              <a:tabLst/>
              <a:defRPr/>
            </a:pPr>
            <a:r>
              <a:rPr lang="de-CH" dirty="0"/>
              <a:t>Wir sehen jetzt in einem Video, wie mit Maschinen von </a:t>
            </a:r>
            <a:r>
              <a:rPr lang="de-CH" dirty="0" err="1"/>
              <a:t>Agathon</a:t>
            </a:r>
            <a:r>
              <a:rPr lang="de-CH" dirty="0"/>
              <a:t> Werkzeuge geschliffen werden…</a:t>
            </a:r>
          </a:p>
          <a:p>
            <a:endParaRPr lang="en-US" dirty="0"/>
          </a:p>
          <a:p>
            <a:endParaRPr lang="de-CH" dirty="0"/>
          </a:p>
        </p:txBody>
      </p:sp>
      <p:sp>
        <p:nvSpPr>
          <p:cNvPr id="4" name="Slide Number Placeholder 3"/>
          <p:cNvSpPr>
            <a:spLocks noGrp="1"/>
          </p:cNvSpPr>
          <p:nvPr>
            <p:ph type="sldNum" sz="quarter" idx="10"/>
          </p:nvPr>
        </p:nvSpPr>
        <p:spPr/>
        <p:txBody>
          <a:bodyPr/>
          <a:lstStyle/>
          <a:p>
            <a:fld id="{DA168281-B8F8-474D-9FE0-8C82ED0FD368}" type="slidenum">
              <a:rPr lang="de-CH" smtClean="0"/>
              <a:pPr/>
              <a:t>2</a:t>
            </a:fld>
            <a:endParaRPr lang="de-CH"/>
          </a:p>
        </p:txBody>
      </p:sp>
    </p:spTree>
    <p:extLst>
      <p:ext uri="{BB962C8B-B14F-4D97-AF65-F5344CB8AC3E}">
        <p14:creationId xmlns:p14="http://schemas.microsoft.com/office/powerpoint/2010/main" val="4066030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Arial" panose="020B0604020202020204" pitchFamily="34" charset="0"/>
              <a:buChar char="•"/>
            </a:pPr>
            <a:r>
              <a:rPr lang="de-CH" baseline="0"/>
              <a:t>Überblick über die Maschinen habe Sie erhalten</a:t>
            </a:r>
          </a:p>
          <a:p>
            <a:pPr marL="285750" indent="-285750">
              <a:buFont typeface="Arial" panose="020B0604020202020204" pitchFamily="34" charset="0"/>
              <a:buChar char="•"/>
            </a:pPr>
            <a:endParaRPr lang="de-CH" baseline="0"/>
          </a:p>
          <a:p>
            <a:pPr marL="285750" indent="-285750">
              <a:buFont typeface="Arial" panose="020B0604020202020204" pitchFamily="34" charset="0"/>
              <a:buChar char="•"/>
            </a:pPr>
            <a:r>
              <a:rPr lang="de-CH" baseline="0">
                <a:sym typeface="Wingdings" panose="05000000000000000000" pitchFamily="2" charset="2"/>
              </a:rPr>
              <a:t> Nun aber, welche Kunden-Bedürfnisse möchten wir mit der entwickelten APP befriedigen</a:t>
            </a:r>
          </a:p>
          <a:p>
            <a:pPr marL="895335" lvl="1" indent="-285750">
              <a:buFont typeface="Arial" panose="020B0604020202020204" pitchFamily="34" charset="0"/>
              <a:buChar char="•"/>
            </a:pPr>
            <a:r>
              <a:rPr lang="de-CH" baseline="0">
                <a:sym typeface="Wingdings" panose="05000000000000000000" pitchFamily="2" charset="2"/>
              </a:rPr>
              <a:t>Maschinenstillstände  möglichst keine  aber umgehend darüber informiert werden</a:t>
            </a:r>
          </a:p>
          <a:p>
            <a:pPr marL="895335" lvl="1" indent="-285750">
              <a:buFont typeface="Arial" panose="020B0604020202020204" pitchFamily="34" charset="0"/>
              <a:buChar char="•"/>
            </a:pPr>
            <a:r>
              <a:rPr lang="de-CH" baseline="0">
                <a:sym typeface="Wingdings" panose="05000000000000000000" pitchFamily="2" charset="2"/>
              </a:rPr>
              <a:t>Informationen  sofort | überall</a:t>
            </a:r>
          </a:p>
          <a:p>
            <a:pPr marL="895335" lvl="1" indent="-285750">
              <a:buFont typeface="Arial" panose="020B0604020202020204" pitchFamily="34" charset="0"/>
              <a:buChar char="•"/>
            </a:pPr>
            <a:r>
              <a:rPr lang="de-CH" baseline="0">
                <a:sym typeface="Wingdings" panose="05000000000000000000" pitchFamily="2" charset="2"/>
              </a:rPr>
              <a:t>Mannlos  Der Kunde soll nicht MA vor Ort haben, die einfach dazu da sind die Maschine zu überwachen!  Die Maschine kann autonom und autark betrieben werden.</a:t>
            </a:r>
          </a:p>
          <a:p>
            <a:pPr marL="895335" lvl="1" indent="-285750">
              <a:buFont typeface="Arial" panose="020B0604020202020204" pitchFamily="34" charset="0"/>
              <a:buChar char="•"/>
            </a:pPr>
            <a:r>
              <a:rPr lang="de-CH" baseline="0">
                <a:sym typeface="Wingdings" panose="05000000000000000000" pitchFamily="2" charset="2"/>
              </a:rPr>
              <a:t>Die meisten unsere Maschinen werden in 2 od. 3 Schichten betrieben, von daher ist es dem Kunden wichtig den Informationsaustausch möglichst effizient und ohne Lücken zu gestalten</a:t>
            </a:r>
          </a:p>
          <a:p>
            <a:pPr marL="894715" lvl="1" indent="-285750">
              <a:buFont typeface="Arial" panose="020B0604020202020204" pitchFamily="34" charset="0"/>
              <a:buChar char="•"/>
            </a:pPr>
            <a:r>
              <a:rPr lang="de-CH" baseline="0">
                <a:sym typeface="Wingdings" panose="05000000000000000000" pitchFamily="2" charset="2"/>
              </a:rPr>
              <a:t>Voraussagen  Damit der Kunde gut planen kann und Stillständen vorbeugen kann</a:t>
            </a:r>
            <a:br>
              <a:rPr lang="de-CH" baseline="0">
                <a:cs typeface="Calibri"/>
              </a:rPr>
            </a:br>
            <a:endParaRPr lang="de-CH" baseline="0">
              <a:cs typeface="Calibri"/>
            </a:endParaRPr>
          </a:p>
          <a:p>
            <a:pPr marL="285750" indent="-285750">
              <a:buFont typeface="Arial" panose="020B0604020202020204" pitchFamily="34" charset="0"/>
              <a:buChar char="•"/>
            </a:pPr>
            <a:r>
              <a:rPr lang="de-CH" baseline="0">
                <a:sym typeface="Wingdings" panose="05000000000000000000" pitchFamily="2" charset="2"/>
              </a:rPr>
              <a:t> Was muss </a:t>
            </a:r>
            <a:r>
              <a:rPr lang="de-CH">
                <a:sym typeface="Wingdings" panose="05000000000000000000" pitchFamily="2" charset="2"/>
              </a:rPr>
              <a:t>das entwickelte Produkt </a:t>
            </a:r>
            <a:r>
              <a:rPr lang="de-CH" baseline="0">
                <a:sym typeface="Wingdings" panose="05000000000000000000" pitchFamily="2" charset="2"/>
              </a:rPr>
              <a:t>liefern</a:t>
            </a:r>
            <a:endParaRPr lang="de-CH"/>
          </a:p>
          <a:p>
            <a:pPr marL="608330" lvl="1" indent="-285750">
              <a:buFont typeface="Arial" panose="020B0604020202020204" pitchFamily="34" charset="0"/>
              <a:buChar char="•"/>
            </a:pPr>
            <a:r>
              <a:rPr lang="de-CH"/>
              <a:t>Prozess: Der Betrachter muss aus der Ferne etwas über die Stabilität des Prozesses sagen können</a:t>
            </a:r>
          </a:p>
          <a:p>
            <a:pPr marL="608330" lvl="1" indent="-285750">
              <a:buFont typeface="Arial" panose="020B0604020202020204" pitchFamily="34" charset="0"/>
              <a:buChar char="•"/>
            </a:pPr>
            <a:r>
              <a:rPr lang="de-CH"/>
              <a:t>Werkzeuge: Es gibt je nach Ma.-</a:t>
            </a:r>
            <a:r>
              <a:rPr lang="de-CH" err="1"/>
              <a:t>Konfig</a:t>
            </a:r>
            <a:r>
              <a:rPr lang="de-CH"/>
              <a:t> bis zu fünf Wz. die einen Verschleiss resp. eine zeitlich beschränkte Lebensdauer haben.</a:t>
            </a:r>
          </a:p>
          <a:p>
            <a:pPr marL="608330" lvl="1" indent="-285750">
              <a:buFont typeface="Arial" panose="020B0604020202020204" pitchFamily="34" charset="0"/>
              <a:buChar char="•"/>
            </a:pPr>
            <a:r>
              <a:rPr lang="de-CH"/>
              <a:t>Auftrag: Wie lange geht es noch, bis der Auftrag abgeschlossen ist, sind genügend Rohteile zugewiesen?</a:t>
            </a:r>
            <a:endParaRPr lang="de-CH">
              <a:cs typeface="Calibri"/>
            </a:endParaRPr>
          </a:p>
          <a:p>
            <a:pPr marL="285750" indent="-285750">
              <a:buFont typeface="Arial" panose="020B0604020202020204" pitchFamily="34" charset="0"/>
              <a:buChar char="•"/>
            </a:pPr>
            <a:endParaRPr lang="de-CH" baseline="0">
              <a:cs typeface="Calibri"/>
            </a:endParaRPr>
          </a:p>
          <a:p>
            <a:pPr marL="285750" indent="-285750">
              <a:buFont typeface="Arial" panose="020B0604020202020204" pitchFamily="34" charset="0"/>
              <a:buChar char="•"/>
            </a:pPr>
            <a:endParaRPr lang="de-CH">
              <a:cs typeface="Calibri"/>
            </a:endParaRPr>
          </a:p>
          <a:p>
            <a:pPr marL="285750" indent="-285750">
              <a:buFont typeface="Arial" panose="020B0604020202020204" pitchFamily="34" charset="0"/>
              <a:buChar char="•"/>
            </a:pPr>
            <a:endParaRPr lang="de-CH">
              <a:cs typeface="Calibri"/>
            </a:endParaRPr>
          </a:p>
        </p:txBody>
      </p:sp>
      <p:sp>
        <p:nvSpPr>
          <p:cNvPr id="4" name="Foliennummernplatzhalter 3"/>
          <p:cNvSpPr>
            <a:spLocks noGrp="1"/>
          </p:cNvSpPr>
          <p:nvPr>
            <p:ph type="sldNum" sz="quarter" idx="10"/>
          </p:nvPr>
        </p:nvSpPr>
        <p:spPr/>
        <p:txBody>
          <a:bodyPr/>
          <a:lstStyle/>
          <a:p>
            <a:fld id="{DA168281-B8F8-474D-9FE0-8C82ED0FD368}" type="slidenum">
              <a:rPr lang="de-CH" smtClean="0"/>
              <a:pPr/>
              <a:t>6</a:t>
            </a:fld>
            <a:endParaRPr lang="de-CH"/>
          </a:p>
        </p:txBody>
      </p:sp>
    </p:spTree>
    <p:extLst>
      <p:ext uri="{BB962C8B-B14F-4D97-AF65-F5344CB8AC3E}">
        <p14:creationId xmlns:p14="http://schemas.microsoft.com/office/powerpoint/2010/main" val="1922512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568960" indent="-285750">
              <a:buFont typeface="Arial"/>
              <a:buChar char="•"/>
            </a:pPr>
            <a:r>
              <a:rPr lang="de-CH" dirty="0"/>
              <a:t>Zielgruppe: </a:t>
            </a:r>
            <a:endParaRPr lang="de-CH" dirty="0">
              <a:cs typeface="Calibri"/>
            </a:endParaRPr>
          </a:p>
          <a:p>
            <a:pPr marL="894080" lvl="1" indent="-285750">
              <a:buFont typeface="Arial"/>
              <a:buChar char="•"/>
            </a:pPr>
            <a:r>
              <a:rPr lang="de-CH" dirty="0"/>
              <a:t>Die erreichen wir! --&gt; Die sollen sich noch besser mit unserem Produkt identifizieren --&gt;  Das sind wichtige Beeinflusser, wenn es um Neuinvestitionen geht! --&gt;  Kundenbindung erhöhen</a:t>
            </a:r>
            <a:endParaRPr lang="de-CH" dirty="0">
              <a:cs typeface="Calibri"/>
            </a:endParaRPr>
          </a:p>
          <a:p>
            <a:pPr marL="608330" lvl="1"/>
            <a:r>
              <a:rPr lang="de-CH" dirty="0"/>
              <a:t> </a:t>
            </a:r>
            <a:endParaRPr lang="de-CH" dirty="0">
              <a:cs typeface="Calibri"/>
            </a:endParaRPr>
          </a:p>
          <a:p>
            <a:pPr marL="568960" indent="-285750">
              <a:buFont typeface="Arial"/>
              <a:buChar char="•"/>
            </a:pPr>
            <a:r>
              <a:rPr lang="de-CH" dirty="0"/>
              <a:t>So ein Gadget muss selbsterklärend sein --&gt; Wenn es nicht selbsterklärend ist, wird es nicht genutzt! </a:t>
            </a:r>
            <a:endParaRPr lang="de-CH" dirty="0">
              <a:cs typeface="Calibri"/>
            </a:endParaRPr>
          </a:p>
          <a:p>
            <a:pPr marL="568960" indent="-285750">
              <a:buFont typeface="Arial"/>
              <a:buChar char="•"/>
            </a:pPr>
            <a:endParaRPr lang="de-CH" dirty="0">
              <a:cs typeface="Calibri"/>
            </a:endParaRPr>
          </a:p>
          <a:p>
            <a:pPr marL="568960" indent="-285750">
              <a:buFont typeface="Arial"/>
              <a:buChar char="•"/>
            </a:pPr>
            <a:r>
              <a:rPr lang="de-CH" dirty="0"/>
              <a:t>App-Smartphone</a:t>
            </a:r>
            <a:endParaRPr lang="de-CH" dirty="0">
              <a:cs typeface="Calibri"/>
            </a:endParaRPr>
          </a:p>
          <a:p>
            <a:pPr marL="894080" lvl="1" indent="-285750">
              <a:buFont typeface="Arial"/>
              <a:buChar char="•"/>
            </a:pPr>
            <a:r>
              <a:rPr lang="de-CH" dirty="0">
                <a:cs typeface="Calibri"/>
              </a:rPr>
              <a:t>Standortunabhängig</a:t>
            </a:r>
          </a:p>
          <a:p>
            <a:pPr marL="894080" lvl="1" indent="-285750">
              <a:buFont typeface="Arial"/>
              <a:buChar char="•"/>
            </a:pPr>
            <a:r>
              <a:rPr lang="de-CH" dirty="0">
                <a:cs typeface="Calibri"/>
              </a:rPr>
              <a:t>Push-Meldungen</a:t>
            </a:r>
            <a:endParaRPr lang="de-CH" dirty="0"/>
          </a:p>
          <a:p>
            <a:pPr marL="568960" indent="-285750">
              <a:buFont typeface="Arial"/>
              <a:buChar char="•"/>
            </a:pPr>
            <a:r>
              <a:rPr lang="de-CH" dirty="0"/>
              <a:t>App-Browser</a:t>
            </a:r>
            <a:endParaRPr lang="de-CH" dirty="0">
              <a:cs typeface="Calibri"/>
            </a:endParaRPr>
          </a:p>
          <a:p>
            <a:pPr marL="894080" lvl="1" indent="-285750">
              <a:buFont typeface="Arial"/>
              <a:buChar char="•"/>
            </a:pPr>
            <a:r>
              <a:rPr lang="de-CH" dirty="0">
                <a:cs typeface="Calibri"/>
              </a:rPr>
              <a:t>Übersichtliche Information</a:t>
            </a:r>
          </a:p>
          <a:p>
            <a:pPr marL="568960" indent="-285750">
              <a:buFont typeface="Arial"/>
              <a:buChar char="•"/>
            </a:pPr>
            <a:r>
              <a:rPr lang="de-CH" dirty="0"/>
              <a:t>Cloud</a:t>
            </a:r>
            <a:endParaRPr lang="de-CH" dirty="0">
              <a:cs typeface="Calibri"/>
            </a:endParaRPr>
          </a:p>
          <a:p>
            <a:pPr marL="894080" lvl="1" indent="-285750">
              <a:buFont typeface="Arial"/>
              <a:buChar char="•"/>
            </a:pPr>
            <a:r>
              <a:rPr lang="de-CH" dirty="0">
                <a:cs typeface="Calibri"/>
              </a:rPr>
              <a:t>Keine teure </a:t>
            </a:r>
            <a:r>
              <a:rPr lang="de-CH" dirty="0" err="1">
                <a:cs typeface="Calibri"/>
              </a:rPr>
              <a:t>Zusatzinfratruktur</a:t>
            </a:r>
            <a:endParaRPr lang="de-CH" dirty="0">
              <a:cs typeface="Calibri"/>
            </a:endParaRPr>
          </a:p>
          <a:p>
            <a:pPr marL="283210"/>
            <a:endParaRPr lang="de-CH" dirty="0"/>
          </a:p>
          <a:p>
            <a:pPr marL="568960" indent="-285750">
              <a:buFont typeface="Arial"/>
              <a:buChar char="•"/>
            </a:pPr>
            <a:r>
              <a:rPr lang="de-CH" dirty="0"/>
              <a:t>Kein Management-Tool</a:t>
            </a:r>
            <a:endParaRPr lang="de-CH" dirty="0">
              <a:cs typeface="Calibri"/>
            </a:endParaRPr>
          </a:p>
          <a:p>
            <a:pPr marL="283210"/>
            <a:endParaRPr lang="de-CH" dirty="0">
              <a:cs typeface="Calibri"/>
            </a:endParaRPr>
          </a:p>
          <a:p>
            <a:pPr marL="568960" indent="-285750">
              <a:buFont typeface="Arial"/>
              <a:buChar char="•"/>
            </a:pPr>
            <a:r>
              <a:rPr lang="de-CH" dirty="0"/>
              <a:t>Bei der Entwicklung war es immer wieder ein Thema. « Man könnte doch dies und jenes auch noch einbauen!» --&gt; Das muss aber ganz klar hinten anstehen! </a:t>
            </a:r>
            <a:r>
              <a:rPr lang="de-CH" dirty="0">
                <a:cs typeface="Calibri"/>
              </a:rPr>
              <a:t> --&gt; Wir müssen unbedingt zuerst die Akzeptanz für eine Cloudlösung beim Kunden bekommen!</a:t>
            </a:r>
          </a:p>
          <a:p>
            <a:pPr marL="285750" indent="-285750">
              <a:buFont typeface="Arial"/>
              <a:buChar char="•"/>
            </a:pPr>
            <a:endParaRPr lang="de-CH" dirty="0">
              <a:cs typeface="Calibri"/>
            </a:endParaRPr>
          </a:p>
        </p:txBody>
      </p:sp>
      <p:sp>
        <p:nvSpPr>
          <p:cNvPr id="4" name="Foliennummernplatzhalter 3"/>
          <p:cNvSpPr>
            <a:spLocks noGrp="1"/>
          </p:cNvSpPr>
          <p:nvPr>
            <p:ph type="sldNum" sz="quarter" idx="10"/>
          </p:nvPr>
        </p:nvSpPr>
        <p:spPr/>
        <p:txBody>
          <a:bodyPr/>
          <a:lstStyle/>
          <a:p>
            <a:fld id="{DA168281-B8F8-474D-9FE0-8C82ED0FD368}" type="slidenum">
              <a:rPr lang="de-CH" smtClean="0"/>
              <a:pPr/>
              <a:t>7</a:t>
            </a:fld>
            <a:endParaRPr lang="de-CH"/>
          </a:p>
        </p:txBody>
      </p:sp>
    </p:spTree>
    <p:extLst>
      <p:ext uri="{BB962C8B-B14F-4D97-AF65-F5344CB8AC3E}">
        <p14:creationId xmlns:p14="http://schemas.microsoft.com/office/powerpoint/2010/main" val="1314824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30713" y="5202238"/>
            <a:ext cx="40943213" cy="23031450"/>
          </a:xfrm>
        </p:spPr>
      </p:sp>
      <p:sp>
        <p:nvSpPr>
          <p:cNvPr id="3" name="Notes Placeholder 2"/>
          <p:cNvSpPr>
            <a:spLocks noGrp="1"/>
          </p:cNvSpPr>
          <p:nvPr>
            <p:ph type="body" idx="1"/>
          </p:nvPr>
        </p:nvSpPr>
        <p:spPr/>
        <p:txBody>
          <a:bodyPr/>
          <a:lstStyle/>
          <a:p>
            <a:pPr defTabSz="1839041">
              <a:spcAft>
                <a:spcPts val="1207"/>
              </a:spcAft>
              <a:defRPr/>
            </a:pPr>
            <a:endParaRPr lang="de-CH"/>
          </a:p>
          <a:p>
            <a:r>
              <a:rPr lang="de-CH"/>
              <a:t>So und nun endlich eine kleine Demo:</a:t>
            </a:r>
            <a:endParaRPr lang="de-CH">
              <a:cs typeface="Calibri"/>
            </a:endParaRPr>
          </a:p>
          <a:p>
            <a:pPr marL="347345"/>
            <a:r>
              <a:rPr lang="de-CH"/>
              <a:t>1.Smartphone </a:t>
            </a:r>
            <a:endParaRPr lang="de-CH">
              <a:cs typeface="Calibri"/>
            </a:endParaRPr>
          </a:p>
          <a:p>
            <a:pPr marL="347345"/>
            <a:r>
              <a:rPr lang="de-CH"/>
              <a:t>     --&gt; Koppeln von Maschinen </a:t>
            </a:r>
            <a:endParaRPr lang="de-CH">
              <a:cs typeface="Calibri"/>
            </a:endParaRPr>
          </a:p>
          <a:p>
            <a:pPr marL="347345"/>
            <a:r>
              <a:rPr lang="de-CH"/>
              <a:t>     --&gt; Push-Meldungen</a:t>
            </a:r>
            <a:br>
              <a:rPr lang="de-CH">
                <a:cs typeface="Calibri"/>
              </a:rPr>
            </a:br>
            <a:endParaRPr lang="de-CH">
              <a:cs typeface="Calibri"/>
            </a:endParaRPr>
          </a:p>
          <a:p>
            <a:pPr marL="347345"/>
            <a:r>
              <a:rPr lang="de-CH"/>
              <a:t>2.Desktop-Dashboard </a:t>
            </a:r>
          </a:p>
          <a:p>
            <a:pPr marL="347345"/>
            <a:r>
              <a:rPr lang="de-CH"/>
              <a:t>    --&gt; Erklärung der Widgets</a:t>
            </a:r>
            <a:br>
              <a:rPr lang="de-CH">
                <a:cs typeface="Calibri"/>
              </a:rPr>
            </a:br>
            <a:r>
              <a:rPr lang="de-CH"/>
              <a:t>    --&gt; Informationsgehalt</a:t>
            </a:r>
            <a:r>
              <a:rPr lang="de-CH">
                <a:cs typeface="Calibri"/>
              </a:rPr>
              <a:t> erläutern</a:t>
            </a:r>
          </a:p>
          <a:p>
            <a:pPr marL="347345"/>
            <a:endParaRPr lang="de-CH">
              <a:cs typeface="Calibri"/>
            </a:endParaRPr>
          </a:p>
          <a:p>
            <a:endParaRPr lang="de-CH">
              <a:cs typeface="Calibri"/>
            </a:endParaRPr>
          </a:p>
        </p:txBody>
      </p:sp>
      <p:sp>
        <p:nvSpPr>
          <p:cNvPr id="4" name="Slide Number Placeholder 3"/>
          <p:cNvSpPr>
            <a:spLocks noGrp="1"/>
          </p:cNvSpPr>
          <p:nvPr>
            <p:ph type="sldNum" sz="quarter" idx="10"/>
          </p:nvPr>
        </p:nvSpPr>
        <p:spPr/>
        <p:txBody>
          <a:bodyPr/>
          <a:lstStyle/>
          <a:p>
            <a:fld id="{36C86ADE-C6C1-422B-945C-B6063A6DE161}" type="slidenum">
              <a:rPr lang="de-DE" smtClean="0"/>
              <a:t>8</a:t>
            </a:fld>
            <a:endParaRPr lang="de-DE"/>
          </a:p>
        </p:txBody>
      </p:sp>
    </p:spTree>
    <p:extLst>
      <p:ext uri="{BB962C8B-B14F-4D97-AF65-F5344CB8AC3E}">
        <p14:creationId xmlns:p14="http://schemas.microsoft.com/office/powerpoint/2010/main" val="2839476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Demo </a:t>
            </a:r>
            <a:r>
              <a:rPr lang="en-US" err="1"/>
              <a:t>Programm</a:t>
            </a:r>
            <a:endParaRPr lang="de-CH"/>
          </a:p>
          <a:p>
            <a:pPr marL="689640" indent="-689640">
              <a:buFont typeface="Arial" panose="020B0604020202020204" pitchFamily="34" charset="0"/>
              <a:buChar char="•"/>
            </a:pPr>
            <a:r>
              <a:rPr lang="de-CH" err="1"/>
              <a:t>Beamer</a:t>
            </a:r>
            <a:r>
              <a:rPr lang="de-CH"/>
              <a:t> umstellen auf Smartphone</a:t>
            </a:r>
          </a:p>
          <a:p>
            <a:pPr marL="689640" indent="-689640">
              <a:buFont typeface="Arial" panose="020B0604020202020204" pitchFamily="34" charset="0"/>
              <a:buChar char="•"/>
            </a:pPr>
            <a:r>
              <a:rPr lang="de-CH"/>
              <a:t>App starten</a:t>
            </a:r>
          </a:p>
          <a:p>
            <a:pPr marL="689640" indent="-689640">
              <a:buFont typeface="Arial" panose="020B0604020202020204" pitchFamily="34" charset="0"/>
              <a:buChar char="•"/>
            </a:pPr>
            <a:r>
              <a:rPr lang="de-CH"/>
              <a:t>Vorher gezeigten QR-Code scannen</a:t>
            </a:r>
          </a:p>
          <a:p>
            <a:pPr marL="689640" indent="-689640">
              <a:buFont typeface="Arial" panose="020B0604020202020204" pitchFamily="34" charset="0"/>
              <a:buChar char="•"/>
            </a:pPr>
            <a:r>
              <a:rPr lang="de-CH"/>
              <a:t>Kurze Erklärung</a:t>
            </a:r>
          </a:p>
          <a:p>
            <a:pPr marL="689640" indent="-689640">
              <a:buFont typeface="Arial" panose="020B0604020202020204" pitchFamily="34" charset="0"/>
              <a:buChar char="•"/>
            </a:pPr>
            <a:r>
              <a:rPr lang="de-CH"/>
              <a:t>Push Meldung demonstrieren</a:t>
            </a:r>
          </a:p>
          <a:p>
            <a:pPr marL="1268852" lvl="1" indent="-689640"/>
            <a:r>
              <a:rPr lang="de-CH"/>
              <a:t>App auf dem Smartphone </a:t>
            </a:r>
            <a:r>
              <a:rPr lang="de-CH" err="1"/>
              <a:t>schliesen</a:t>
            </a:r>
            <a:endParaRPr lang="de-CH"/>
          </a:p>
          <a:p>
            <a:pPr marL="1268852" lvl="1" indent="-689640"/>
            <a:r>
              <a:rPr lang="de-CH"/>
              <a:t>Bei einer bereits </a:t>
            </a:r>
            <a:r>
              <a:rPr lang="de-CH" err="1"/>
              <a:t>gepairte</a:t>
            </a:r>
            <a:r>
              <a:rPr lang="de-CH"/>
              <a:t> SC-Instanz auf dem Notebook einen Fehler auslösen</a:t>
            </a:r>
          </a:p>
          <a:p>
            <a:pPr marL="1268852" lvl="1" indent="-689640"/>
            <a:r>
              <a:rPr lang="de-CH">
                <a:sym typeface="Wingdings" panose="05000000000000000000" pitchFamily="2" charset="2"/>
              </a:rPr>
              <a:t> Push-Meldung auf dem Smartphone erscheint</a:t>
            </a:r>
          </a:p>
          <a:p>
            <a:endParaRPr lang="en-US"/>
          </a:p>
          <a:p>
            <a:pPr marL="689640" indent="-689640">
              <a:buFont typeface="Arial" panose="020B0604020202020204" pitchFamily="34" charset="0"/>
              <a:buChar char="•"/>
            </a:pPr>
            <a:r>
              <a:rPr lang="de-CH"/>
              <a:t>Leeres Desktop-Dashboard auf dem Laptop öffnen</a:t>
            </a:r>
          </a:p>
          <a:p>
            <a:pPr marL="689640" indent="-689640">
              <a:buFont typeface="Arial" panose="020B0604020202020204" pitchFamily="34" charset="0"/>
              <a:buChar char="•"/>
            </a:pPr>
            <a:r>
              <a:rPr lang="de-CH" err="1"/>
              <a:t>Beamer</a:t>
            </a:r>
            <a:r>
              <a:rPr lang="de-CH"/>
              <a:t> wieder auf Laptop umstellen</a:t>
            </a:r>
          </a:p>
          <a:p>
            <a:pPr marL="689640" indent="-689640">
              <a:buFont typeface="Arial" panose="020B0604020202020204" pitchFamily="34" charset="0"/>
              <a:buChar char="•"/>
            </a:pPr>
            <a:r>
              <a:rPr lang="de-CH"/>
              <a:t>Demo Desktop-Dashboard einrichten</a:t>
            </a:r>
          </a:p>
          <a:p>
            <a:pPr marL="1268852" lvl="1" indent="-689640"/>
            <a:r>
              <a:rPr lang="de-CH"/>
              <a:t>Die Maschinen vom Smartphone auf den Desktop übertragen</a:t>
            </a:r>
          </a:p>
          <a:p>
            <a:pPr marL="689640" indent="-689640">
              <a:buFont typeface="Arial" panose="020B0604020202020204" pitchFamily="34" charset="0"/>
              <a:buChar char="•"/>
            </a:pPr>
            <a:r>
              <a:rPr lang="de-CH"/>
              <a:t>Auf dem Desktop-Dashboard kurz alle Funktionen und Widgets erklären</a:t>
            </a:r>
          </a:p>
          <a:p>
            <a:endParaRPr lang="de-CH"/>
          </a:p>
          <a:p>
            <a:endParaRPr lang="de-CH"/>
          </a:p>
        </p:txBody>
      </p:sp>
      <p:sp>
        <p:nvSpPr>
          <p:cNvPr id="4" name="Slide Number Placeholder 3"/>
          <p:cNvSpPr>
            <a:spLocks noGrp="1"/>
          </p:cNvSpPr>
          <p:nvPr>
            <p:ph type="sldNum" sz="quarter" idx="10"/>
          </p:nvPr>
        </p:nvSpPr>
        <p:spPr/>
        <p:txBody>
          <a:bodyPr/>
          <a:lstStyle/>
          <a:p>
            <a:fld id="{DA168281-B8F8-474D-9FE0-8C82ED0FD368}" type="slidenum">
              <a:rPr lang="de-CH" smtClean="0"/>
              <a:pPr/>
              <a:t>9</a:t>
            </a:fld>
            <a:endParaRPr lang="de-CH"/>
          </a:p>
        </p:txBody>
      </p:sp>
    </p:spTree>
    <p:extLst>
      <p:ext uri="{BB962C8B-B14F-4D97-AF65-F5344CB8AC3E}">
        <p14:creationId xmlns:p14="http://schemas.microsoft.com/office/powerpoint/2010/main" val="3500714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err="1"/>
              <a:t>Risikominimierung</a:t>
            </a:r>
            <a:r>
              <a:rPr lang="en-US"/>
              <a:t>:</a:t>
            </a:r>
          </a:p>
          <a:p>
            <a:pPr marL="285750" indent="-285750">
              <a:buFont typeface="Arial" panose="020B0604020202020204" pitchFamily="34" charset="0"/>
              <a:buChar char="•"/>
            </a:pPr>
            <a:r>
              <a:rPr lang="en-US"/>
              <a:t>Pilot </a:t>
            </a:r>
            <a:r>
              <a:rPr lang="en-US" err="1"/>
              <a:t>für</a:t>
            </a:r>
            <a:r>
              <a:rPr lang="en-US"/>
              <a:t> den </a:t>
            </a:r>
            <a:r>
              <a:rPr lang="en-US" err="1"/>
              <a:t>PoC</a:t>
            </a:r>
            <a:r>
              <a:rPr lang="en-US"/>
              <a:t> </a:t>
            </a:r>
            <a:r>
              <a:rPr lang="en-US" err="1"/>
              <a:t>bzw</a:t>
            </a:r>
            <a:r>
              <a:rPr lang="en-US"/>
              <a:t>. </a:t>
            </a:r>
            <a:r>
              <a:rPr lang="en-US" err="1"/>
              <a:t>Technische</a:t>
            </a:r>
            <a:r>
              <a:rPr lang="en-US"/>
              <a:t> </a:t>
            </a:r>
            <a:r>
              <a:rPr lang="en-US" err="1"/>
              <a:t>Machbarkeit</a:t>
            </a:r>
            <a:endParaRPr lang="en-US"/>
          </a:p>
          <a:p>
            <a:pPr marL="285750" indent="-285750">
              <a:buFont typeface="Arial" panose="020B0604020202020204" pitchFamily="34" charset="0"/>
              <a:buChar char="•"/>
            </a:pPr>
            <a:r>
              <a:rPr lang="en-US"/>
              <a:t>Minimum Viable Product um </a:t>
            </a:r>
            <a:r>
              <a:rPr lang="en-US" err="1"/>
              <a:t>Kunden</a:t>
            </a:r>
            <a:r>
              <a:rPr lang="en-US"/>
              <a:t> </a:t>
            </a:r>
            <a:r>
              <a:rPr lang="en-US" err="1"/>
              <a:t>Reaktionen</a:t>
            </a:r>
            <a:r>
              <a:rPr lang="en-US"/>
              <a:t> </a:t>
            </a:r>
            <a:r>
              <a:rPr lang="en-US" err="1"/>
              <a:t>zu</a:t>
            </a:r>
            <a:r>
              <a:rPr lang="en-US"/>
              <a:t> </a:t>
            </a:r>
            <a:r>
              <a:rPr lang="en-US" err="1"/>
              <a:t>berücksichtigen</a:t>
            </a:r>
            <a:endParaRPr lang="en-US"/>
          </a:p>
          <a:p>
            <a:pPr marL="285750" indent="-285750">
              <a:buFont typeface="Arial" panose="020B0604020202020204" pitchFamily="34" charset="0"/>
              <a:buChar char="•"/>
            </a:pPr>
            <a:endParaRPr lang="en-US"/>
          </a:p>
          <a:p>
            <a:r>
              <a:rPr lang="en-US"/>
              <a:t>Def. MVP: </a:t>
            </a:r>
          </a:p>
          <a:p>
            <a:pPr marL="574700" indent="-574700">
              <a:buFont typeface="Arial" panose="020B0604020202020204" pitchFamily="34" charset="0"/>
              <a:buChar char="•"/>
            </a:pPr>
            <a:r>
              <a:rPr lang="en-US" sz="3200"/>
              <a:t>A minimum viable product (MVP) is a </a:t>
            </a:r>
            <a:r>
              <a:rPr lang="en-US" sz="3200" u="sng"/>
              <a:t>development</a:t>
            </a:r>
            <a:r>
              <a:rPr lang="en-US" sz="3200"/>
              <a:t> technique in which a new product or website is developed with sufficient features to satisfy early adopters. The final, complete set of features is only designed and developed after considering feedback from the product's initial users.</a:t>
            </a:r>
          </a:p>
          <a:p>
            <a:endParaRPr lang="en-US"/>
          </a:p>
          <a:p>
            <a:r>
              <a:rPr lang="de-CH" sz="3200"/>
              <a:t>MVP steht für Minimum Viable </a:t>
            </a:r>
            <a:r>
              <a:rPr lang="de-CH" sz="3200" err="1"/>
              <a:t>Product</a:t>
            </a:r>
            <a:r>
              <a:rPr lang="de-CH" sz="3200"/>
              <a:t>, was auf deutsch so viel bedeutet wie „ein Produkt mit den minimalen Anforderungen und Eigenschaften“. Der grundlegende Gedanke bei der Erstellung eines MVP ist es, ein Produkt möglichst schnell mit nur den nötigsten Funktionen (viable = «brauchbar») zu erstellen. Diese wird dann umgehend veröffentlicht und zunächst Feedback von (potenziellen) Kunden eingeholt. Dieses Feedback wird im Folgenden genutzt, um das MVP zu erweitern und zu verbessern.</a:t>
            </a:r>
          </a:p>
          <a:p>
            <a:r>
              <a:rPr lang="de-CH" sz="3200"/>
              <a:t>Jede weiterführende Funktion sollte beim MVP außen vorgelassen werden. Nur die Funktionen, die unbedingt nötig sind, um den eigentlichen Zweck des Produktes zu ermöglichen, werden eingebaut. Somit wird eine Menge Zeit, Arbeit und Geld gespart. Der Hauptgrund für das Entwickeln eines MVP ist das Minimieren von Risiko. Wenn man sich für den Weg entscheidet, ein vollwertiges Produkt zu entwickeln und zu veröffentlichen, so kann es zu einer Vielzahl von Problem kommen.</a:t>
            </a:r>
          </a:p>
          <a:p>
            <a:endParaRPr lang="de-CH"/>
          </a:p>
        </p:txBody>
      </p:sp>
      <p:sp>
        <p:nvSpPr>
          <p:cNvPr id="4" name="Slide Number Placeholder 3"/>
          <p:cNvSpPr>
            <a:spLocks noGrp="1"/>
          </p:cNvSpPr>
          <p:nvPr>
            <p:ph type="sldNum" sz="quarter" idx="10"/>
          </p:nvPr>
        </p:nvSpPr>
        <p:spPr/>
        <p:txBody>
          <a:bodyPr/>
          <a:lstStyle/>
          <a:p>
            <a:fld id="{DA168281-B8F8-474D-9FE0-8C82ED0FD368}" type="slidenum">
              <a:rPr lang="de-CH" smtClean="0"/>
              <a:pPr/>
              <a:t>10</a:t>
            </a:fld>
            <a:endParaRPr lang="de-CH"/>
          </a:p>
        </p:txBody>
      </p:sp>
    </p:spTree>
    <p:extLst>
      <p:ext uri="{BB962C8B-B14F-4D97-AF65-F5344CB8AC3E}">
        <p14:creationId xmlns:p14="http://schemas.microsoft.com/office/powerpoint/2010/main" val="2875718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t>Wer</a:t>
            </a:r>
            <a:r>
              <a:rPr lang="en-US"/>
              <a:t> </a:t>
            </a:r>
            <a:r>
              <a:rPr lang="en-US" err="1"/>
              <a:t>soll</a:t>
            </a:r>
            <a:r>
              <a:rPr lang="en-US"/>
              <a:t> </a:t>
            </a:r>
            <a:r>
              <a:rPr lang="en-US" err="1"/>
              <a:t>wann</a:t>
            </a:r>
            <a:r>
              <a:rPr lang="en-US"/>
              <a:t> </a:t>
            </a:r>
            <a:r>
              <a:rPr lang="en-US" err="1"/>
              <a:t>welche</a:t>
            </a:r>
            <a:r>
              <a:rPr lang="en-US"/>
              <a:t> </a:t>
            </a:r>
            <a:r>
              <a:rPr lang="en-US" err="1"/>
              <a:t>informationen</a:t>
            </a:r>
            <a:r>
              <a:rPr lang="en-US"/>
              <a:t> </a:t>
            </a:r>
            <a:r>
              <a:rPr lang="en-US" err="1"/>
              <a:t>sehen</a:t>
            </a:r>
            <a:r>
              <a:rPr lang="en-US"/>
              <a:t>, und </a:t>
            </a:r>
            <a:r>
              <a:rPr lang="en-US" err="1"/>
              <a:t>warum</a:t>
            </a:r>
            <a:r>
              <a:rPr lang="en-US"/>
              <a:t>?</a:t>
            </a:r>
            <a:endParaRPr lang="de-CH"/>
          </a:p>
        </p:txBody>
      </p:sp>
      <p:sp>
        <p:nvSpPr>
          <p:cNvPr id="4" name="Foliennummernplatzhalter 3"/>
          <p:cNvSpPr>
            <a:spLocks noGrp="1"/>
          </p:cNvSpPr>
          <p:nvPr>
            <p:ph type="sldNum" sz="quarter" idx="10"/>
          </p:nvPr>
        </p:nvSpPr>
        <p:spPr/>
        <p:txBody>
          <a:bodyPr/>
          <a:lstStyle/>
          <a:p>
            <a:fld id="{DA168281-B8F8-474D-9FE0-8C82ED0FD368}" type="slidenum">
              <a:rPr lang="de-CH" smtClean="0"/>
              <a:pPr/>
              <a:t>11</a:t>
            </a:fld>
            <a:endParaRPr lang="de-CH"/>
          </a:p>
        </p:txBody>
      </p:sp>
    </p:spTree>
    <p:extLst>
      <p:ext uri="{BB962C8B-B14F-4D97-AF65-F5344CB8AC3E}">
        <p14:creationId xmlns:p14="http://schemas.microsoft.com/office/powerpoint/2010/main" val="3944596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Shape 113"/>
          <p:cNvSpPr txBox="1">
            <a:spLocks noGrp="1"/>
          </p:cNvSpPr>
          <p:nvPr>
            <p:ph type="body" idx="1"/>
          </p:nvPr>
        </p:nvSpPr>
        <p:spPr>
          <a:xfrm>
            <a:off x="668124" y="31927448"/>
            <a:ext cx="5344987" cy="30247051"/>
          </a:xfrm>
          <a:prstGeom prst="rect">
            <a:avLst/>
          </a:prstGeom>
          <a:noFill/>
          <a:ln>
            <a:noFill/>
          </a:ln>
        </p:spPr>
        <p:txBody>
          <a:bodyPr spcFirstLastPara="1" wrap="square" lIns="183874" tIns="183874" rIns="183874" bIns="183874" anchor="ctr" anchorCtr="0">
            <a:noAutofit/>
          </a:bodyPr>
          <a:lstStyle/>
          <a:p>
            <a:r>
              <a:rPr lang="en-US" sz="3200">
                <a:solidFill>
                  <a:schemeClr val="dk1"/>
                </a:solidFill>
                <a:latin typeface="Calibri"/>
                <a:ea typeface="Calibri"/>
                <a:cs typeface="Calibri"/>
                <a:sym typeface="Calibri"/>
              </a:rPr>
              <a:t>Oft </a:t>
            </a:r>
            <a:r>
              <a:rPr lang="en-US" sz="3200" err="1">
                <a:solidFill>
                  <a:schemeClr val="dk1"/>
                </a:solidFill>
                <a:latin typeface="Calibri"/>
                <a:ea typeface="Calibri"/>
                <a:cs typeface="Calibri"/>
                <a:sym typeface="Calibri"/>
              </a:rPr>
              <a:t>geraten</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nicht-funktionale</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Anforderungen</a:t>
            </a:r>
            <a:r>
              <a:rPr lang="en-US" sz="3200">
                <a:solidFill>
                  <a:schemeClr val="dk1"/>
                </a:solidFill>
                <a:latin typeface="Calibri"/>
                <a:ea typeface="Calibri"/>
                <a:cs typeface="Calibri"/>
                <a:sym typeface="Calibri"/>
              </a:rPr>
              <a:t> in </a:t>
            </a:r>
            <a:r>
              <a:rPr lang="en-US" sz="3200" err="1">
                <a:solidFill>
                  <a:schemeClr val="dk1"/>
                </a:solidFill>
                <a:latin typeface="Calibri"/>
                <a:ea typeface="Calibri"/>
                <a:cs typeface="Calibri"/>
                <a:sym typeface="Calibri"/>
              </a:rPr>
              <a:t>Vergessenheit</a:t>
            </a:r>
            <a:r>
              <a:rPr lang="en-US" sz="3200">
                <a:solidFill>
                  <a:schemeClr val="dk1"/>
                </a:solidFill>
                <a:latin typeface="Calibri"/>
                <a:ea typeface="Calibri"/>
                <a:cs typeface="Calibri"/>
                <a:sym typeface="Calibri"/>
              </a:rPr>
              <a:t>.</a:t>
            </a:r>
          </a:p>
          <a:p>
            <a:r>
              <a:rPr lang="en-US" b="0" i="0" u="none" strike="noStrike" cap="none">
                <a:effectLst/>
                <a:latin typeface="Calibri"/>
                <a:ea typeface="Calibri"/>
                <a:cs typeface="Calibri"/>
                <a:sym typeface="Calibri"/>
              </a:rPr>
              <a:t>Da </a:t>
            </a:r>
            <a:r>
              <a:rPr lang="en-US" b="0" i="0" u="none" strike="noStrike" cap="none" err="1">
                <a:effectLst/>
                <a:latin typeface="Calibri"/>
                <a:ea typeface="Calibri"/>
                <a:cs typeface="Calibri"/>
                <a:sym typeface="Calibri"/>
              </a:rPr>
              <a:t>kan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ein</a:t>
            </a:r>
            <a:r>
              <a:rPr lang="en-US" b="0" i="0" u="none" strike="noStrike" cap="none">
                <a:effectLst/>
                <a:latin typeface="Calibri"/>
                <a:ea typeface="Calibri"/>
                <a:cs typeface="Calibri"/>
                <a:sym typeface="Calibri"/>
              </a:rPr>
              <a:t> Blick </a:t>
            </a:r>
            <a:r>
              <a:rPr lang="en-US" b="0" i="0" u="none" strike="noStrike" cap="none" err="1">
                <a:effectLst/>
                <a:latin typeface="Calibri"/>
                <a:ea typeface="Calibri"/>
                <a:cs typeface="Calibri"/>
                <a:sym typeface="Calibri"/>
              </a:rPr>
              <a:t>aus</a:t>
            </a:r>
            <a:r>
              <a:rPr lang="en-US" b="0" i="0" u="none" strike="noStrike" cap="none">
                <a:effectLst/>
                <a:latin typeface="Calibri"/>
                <a:ea typeface="Calibri"/>
                <a:cs typeface="Calibri"/>
                <a:sym typeface="Calibri"/>
              </a:rPr>
              <a:t> der </a:t>
            </a:r>
            <a:r>
              <a:rPr lang="en-US" b="0" i="0" u="none" strike="noStrike" cap="none" err="1">
                <a:effectLst/>
                <a:latin typeface="Calibri"/>
                <a:ea typeface="Calibri"/>
                <a:cs typeface="Calibri"/>
                <a:sym typeface="Calibri"/>
              </a:rPr>
              <a:t>Perspektive</a:t>
            </a:r>
            <a:r>
              <a:rPr lang="en-US" b="0" i="0" u="none" strike="noStrike" cap="none">
                <a:effectLst/>
                <a:latin typeface="Calibri"/>
                <a:ea typeface="Calibri"/>
                <a:cs typeface="Calibri"/>
                <a:sym typeface="Calibri"/>
              </a:rPr>
              <a:t> des ISO 25010 Software </a:t>
            </a:r>
            <a:r>
              <a:rPr lang="en-US" b="0" i="0" u="none" strike="noStrike" cap="none" err="1">
                <a:effectLst/>
                <a:latin typeface="Calibri"/>
                <a:ea typeface="Calibri"/>
                <a:cs typeface="Calibri"/>
                <a:sym typeface="Calibri"/>
              </a:rPr>
              <a:t>Qualitäts-Merkmale</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helf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diese</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festzuhalt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bzw</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zu</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priorisieren</a:t>
            </a:r>
            <a:r>
              <a:rPr lang="en-US" b="0" i="0" u="none" strike="noStrike" cap="none">
                <a:effectLst/>
                <a:latin typeface="Calibri"/>
                <a:ea typeface="Calibri"/>
                <a:cs typeface="Calibri"/>
                <a:sym typeface="Calibri"/>
              </a:rPr>
              <a:t>.</a:t>
            </a:r>
            <a:endParaRPr lang="en-US" b="0" i="0" u="none" strike="noStrike" cap="none">
              <a:latin typeface="Calibri"/>
              <a:ea typeface="Calibri"/>
              <a:cs typeface="Calibri"/>
            </a:endParaRPr>
          </a:p>
          <a:p>
            <a:endParaRPr lang="en-US" sz="3200">
              <a:solidFill>
                <a:schemeClr val="dk1"/>
              </a:solidFill>
              <a:latin typeface="Calibri"/>
              <a:ea typeface="Calibri"/>
              <a:cs typeface="Calibri"/>
              <a:sym typeface="Calibri"/>
            </a:endParaRPr>
          </a:p>
          <a:p>
            <a:r>
              <a:rPr lang="en-US" b="0" i="0" u="none" strike="noStrike" cap="none" err="1">
                <a:effectLst/>
                <a:latin typeface="Calibri"/>
                <a:ea typeface="Calibri"/>
                <a:cs typeface="Calibri"/>
                <a:sym typeface="Calibri"/>
              </a:rPr>
              <a:t>Einge</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Qualitäts-Anfrorderung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konnt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durch</a:t>
            </a:r>
            <a:r>
              <a:rPr lang="en-US" b="0" i="0" u="none" strike="noStrike" cap="none">
                <a:effectLst/>
                <a:latin typeface="Calibri"/>
                <a:ea typeface="Calibri"/>
                <a:cs typeface="Calibri"/>
                <a:sym typeface="Calibri"/>
              </a:rPr>
              <a:t> das SLA von Azure </a:t>
            </a:r>
            <a:r>
              <a:rPr lang="en-US" b="0" i="0" u="none" strike="noStrike" cap="none" err="1">
                <a:effectLst/>
                <a:latin typeface="Calibri"/>
                <a:ea typeface="Calibri"/>
                <a:cs typeface="Calibri"/>
                <a:sym typeface="Calibri"/>
              </a:rPr>
              <a:t>abgedeckt</a:t>
            </a:r>
            <a:r>
              <a:rPr lang="en-US" b="0" i="0" u="none" strike="noStrike" cap="none">
                <a:effectLst/>
                <a:latin typeface="Calibri"/>
                <a:ea typeface="Calibri"/>
                <a:cs typeface="Calibri"/>
                <a:sym typeface="Calibri"/>
              </a:rPr>
              <a:t> warden. Z.B. </a:t>
            </a:r>
            <a:r>
              <a:rPr lang="en-US" b="0" i="0" u="none" strike="noStrike" cap="none" err="1">
                <a:effectLst/>
                <a:latin typeface="Calibri"/>
                <a:ea typeface="Calibri"/>
                <a:cs typeface="Calibri"/>
                <a:sym typeface="Calibri"/>
              </a:rPr>
              <a:t>Verfügbarkeit</a:t>
            </a:r>
            <a:r>
              <a:rPr lang="en-US" b="0" i="0" u="none" strike="noStrike" cap="none">
                <a:effectLst/>
                <a:latin typeface="Calibri"/>
                <a:ea typeface="Calibri"/>
                <a:cs typeface="Calibri"/>
                <a:sym typeface="Calibri"/>
              </a:rPr>
              <a:t> von </a:t>
            </a:r>
            <a:r>
              <a:rPr lang="en-US">
                <a:latin typeface="Calibri"/>
                <a:ea typeface="Calibri"/>
                <a:cs typeface="Calibri"/>
                <a:sym typeface="Calibri"/>
              </a:rPr>
              <a:t>"</a:t>
            </a:r>
            <a:r>
              <a:rPr lang="en-US" b="0" i="0" u="none" strike="noStrike" cap="none">
                <a:effectLst/>
                <a:latin typeface="Calibri"/>
                <a:ea typeface="Calibri"/>
                <a:cs typeface="Calibri"/>
                <a:sym typeface="Calibri"/>
              </a:rPr>
              <a:t>four-nines</a:t>
            </a:r>
            <a:r>
              <a:rPr lang="en-US">
                <a:latin typeface="Calibri"/>
                <a:ea typeface="Calibri"/>
                <a:cs typeface="Calibri"/>
                <a:sym typeface="Calibri"/>
              </a:rPr>
              <a:t>".</a:t>
            </a:r>
            <a:endParaRPr lang="en-US" b="0" i="0" u="none" strike="noStrike" cap="none">
              <a:latin typeface="Calibri"/>
              <a:ea typeface="Calibri"/>
              <a:cs typeface="Calibri"/>
            </a:endParaRPr>
          </a:p>
          <a:p>
            <a:r>
              <a:rPr lang="en-US" b="0" i="0" u="none" strike="noStrike" cap="none" err="1">
                <a:effectLst/>
                <a:latin typeface="Calibri"/>
                <a:ea typeface="Calibri"/>
                <a:cs typeface="Calibri"/>
                <a:sym typeface="Calibri"/>
              </a:rPr>
              <a:t>Für</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andere</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musst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wir</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eng</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zusammenarbeiten</a:t>
            </a:r>
            <a:r>
              <a:rPr lang="en-US" b="0" i="0" u="none" strike="noStrike" cap="none">
                <a:effectLst/>
                <a:latin typeface="Calibri"/>
                <a:ea typeface="Calibri"/>
                <a:cs typeface="Calibri"/>
                <a:sym typeface="Calibri"/>
              </a:rPr>
              <a:t>, und </a:t>
            </a:r>
            <a:r>
              <a:rPr lang="en-US" b="0" i="0" u="none" strike="noStrike" cap="none" err="1">
                <a:effectLst/>
                <a:latin typeface="Calibri"/>
                <a:ea typeface="Calibri"/>
                <a:cs typeface="Calibri"/>
                <a:sym typeface="Calibri"/>
              </a:rPr>
              <a:t>Fachspezialist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beiziehe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z.B.</a:t>
            </a:r>
            <a:r>
              <a:rPr lang="en-US" b="0" i="0" u="none" strike="noStrike" cap="none">
                <a:effectLst/>
                <a:latin typeface="Calibri"/>
                <a:ea typeface="Calibri"/>
                <a:cs typeface="Calibri"/>
                <a:sym typeface="Calibri"/>
              </a:rPr>
              <a:t> um </a:t>
            </a:r>
            <a:r>
              <a:rPr lang="en-US" b="0" i="0" u="none" strike="noStrike" cap="none" err="1">
                <a:effectLst/>
                <a:latin typeface="Calibri"/>
                <a:ea typeface="Calibri"/>
                <a:cs typeface="Calibri"/>
                <a:sym typeface="Calibri"/>
              </a:rPr>
              <a:t>ein</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schönes</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durchgänig</a:t>
            </a:r>
            <a:r>
              <a:rPr lang="en-US" b="0" i="0" u="none" strike="noStrike" cap="none">
                <a:effectLst/>
                <a:latin typeface="Calibri"/>
                <a:ea typeface="Calibri"/>
                <a:cs typeface="Calibri"/>
                <a:sym typeface="Calibri"/>
              </a:rPr>
              <a:t> </a:t>
            </a:r>
            <a:r>
              <a:rPr lang="en-US" err="1">
                <a:latin typeface="Calibri"/>
                <a:ea typeface="Calibri"/>
                <a:cs typeface="Calibri"/>
                <a:sym typeface="Calibri"/>
              </a:rPr>
              <a:t>konsistentes</a:t>
            </a:r>
            <a:r>
              <a:rPr lang="en-US" b="0" i="0" u="none" strike="noStrike" cap="none">
                <a:effectLst/>
                <a:latin typeface="Calibri"/>
                <a:ea typeface="Calibri"/>
                <a:cs typeface="Calibri"/>
                <a:sym typeface="Calibri"/>
              </a:rPr>
              <a:t> und </a:t>
            </a:r>
            <a:r>
              <a:rPr lang="en-US" b="0" i="0" u="none" strike="noStrike" cap="none" err="1">
                <a:effectLst/>
                <a:latin typeface="Calibri"/>
                <a:ea typeface="Calibri"/>
                <a:cs typeface="Calibri"/>
                <a:sym typeface="Calibri"/>
              </a:rPr>
              <a:t>intuitives</a:t>
            </a:r>
            <a:r>
              <a:rPr lang="en-US" b="0" i="0" u="none" strike="noStrike" cap="none">
                <a:effectLst/>
                <a:latin typeface="Calibri"/>
                <a:ea typeface="Calibri"/>
                <a:cs typeface="Calibri"/>
                <a:sym typeface="Calibri"/>
              </a:rPr>
              <a:t> Interface </a:t>
            </a:r>
            <a:r>
              <a:rPr lang="en-US" b="0" i="0" u="none" strike="noStrike" cap="none" err="1">
                <a:effectLst/>
                <a:latin typeface="Calibri"/>
                <a:ea typeface="Calibri"/>
                <a:cs typeface="Calibri"/>
                <a:sym typeface="Calibri"/>
              </a:rPr>
              <a:t>zu</a:t>
            </a:r>
            <a:r>
              <a:rPr lang="en-US" b="0" i="0" u="none" strike="noStrike" cap="none">
                <a:effectLst/>
                <a:latin typeface="Calibri"/>
                <a:ea typeface="Calibri"/>
                <a:cs typeface="Calibri"/>
                <a:sym typeface="Calibri"/>
              </a:rPr>
              <a:t> </a:t>
            </a:r>
            <a:r>
              <a:rPr lang="en-US" b="0" i="0" u="none" strike="noStrike" cap="none" err="1">
                <a:effectLst/>
                <a:latin typeface="Calibri"/>
                <a:ea typeface="Calibri"/>
                <a:cs typeface="Calibri"/>
                <a:sym typeface="Calibri"/>
              </a:rPr>
              <a:t>gestalten</a:t>
            </a:r>
            <a:r>
              <a:rPr lang="en-US" b="0" i="0" u="none" strike="noStrike" cap="none">
                <a:effectLst/>
                <a:latin typeface="Calibri"/>
                <a:ea typeface="Calibri"/>
                <a:cs typeface="Calibri"/>
                <a:sym typeface="Calibri"/>
              </a:rPr>
              <a:t>.</a:t>
            </a:r>
            <a:endParaRPr lang="en-US" b="0" i="0" u="none" strike="noStrike" cap="none">
              <a:latin typeface="Calibri"/>
              <a:ea typeface="Calibri"/>
              <a:cs typeface="Calibri"/>
            </a:endParaRPr>
          </a:p>
          <a:p>
            <a:r>
              <a:rPr lang="en-US" sz="3200" err="1">
                <a:solidFill>
                  <a:schemeClr val="dk1"/>
                </a:solidFill>
                <a:latin typeface="Calibri"/>
                <a:ea typeface="Calibri"/>
                <a:cs typeface="Calibri"/>
                <a:sym typeface="Calibri"/>
              </a:rPr>
              <a:t>Wir</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mussten</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uns</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auch</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überlegen</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welche</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Daten</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sollen</a:t>
            </a:r>
            <a:r>
              <a:rPr lang="en-US" sz="3200">
                <a:solidFill>
                  <a:schemeClr val="dk1"/>
                </a:solidFill>
                <a:latin typeface="Calibri"/>
                <a:ea typeface="Calibri"/>
                <a:cs typeface="Calibri"/>
                <a:sym typeface="Calibri"/>
              </a:rPr>
              <a:t> in der Cloud </a:t>
            </a:r>
            <a:r>
              <a:rPr lang="en-US" sz="3200" err="1">
                <a:solidFill>
                  <a:schemeClr val="dk1"/>
                </a:solidFill>
                <a:latin typeface="Calibri"/>
                <a:ea typeface="Calibri"/>
                <a:cs typeface="Calibri"/>
                <a:sym typeface="Calibri"/>
              </a:rPr>
              <a:t>abgelegt</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werden</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keine</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persönlichen</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oder</a:t>
            </a:r>
            <a:r>
              <a:rPr lang="en-US" sz="3200">
                <a:solidFill>
                  <a:schemeClr val="dk1"/>
                </a:solidFill>
                <a:latin typeface="Calibri"/>
                <a:ea typeface="Calibri"/>
                <a:cs typeface="Calibri"/>
                <a:sym typeface="Calibri"/>
              </a:rPr>
              <a:t> </a:t>
            </a:r>
            <a:r>
              <a:rPr lang="en-US" sz="3200" err="1">
                <a:solidFill>
                  <a:schemeClr val="dk1"/>
                </a:solidFill>
                <a:latin typeface="Calibri"/>
                <a:ea typeface="Calibri"/>
                <a:cs typeface="Calibri"/>
                <a:sym typeface="Calibri"/>
              </a:rPr>
              <a:t>hochsensible</a:t>
            </a:r>
            <a:r>
              <a:rPr lang="en-US" sz="3200">
                <a:solidFill>
                  <a:schemeClr val="dk1"/>
                </a:solidFill>
                <a:latin typeface="Calibri"/>
                <a:ea typeface="Calibri"/>
                <a:cs typeface="Calibri"/>
                <a:sym typeface="Calibri"/>
              </a:rPr>
              <a:t>.</a:t>
            </a:r>
          </a:p>
          <a:p>
            <a:r>
              <a:rPr lang="en-US" err="1">
                <a:latin typeface="Calibri"/>
                <a:ea typeface="Calibri"/>
                <a:cs typeface="Calibri"/>
                <a:sym typeface="Calibri"/>
              </a:rPr>
              <a:t>Zeitverhalten</a:t>
            </a:r>
            <a:r>
              <a:rPr lang="en-US">
                <a:latin typeface="Calibri"/>
                <a:ea typeface="Calibri"/>
                <a:cs typeface="Calibri"/>
                <a:sym typeface="Calibri"/>
              </a:rPr>
              <a:t>: Das</a:t>
            </a:r>
            <a:r>
              <a:rPr lang="en-US" b="0" i="0" u="none" strike="noStrike" cap="none">
                <a:effectLst/>
                <a:latin typeface="Calibri"/>
                <a:ea typeface="Calibri"/>
                <a:cs typeface="Calibri"/>
                <a:sym typeface="Calibri"/>
              </a:rPr>
              <a:t> System muss</a:t>
            </a:r>
            <a:r>
              <a:rPr lang="en-US">
                <a:latin typeface="Calibri"/>
                <a:ea typeface="Calibri"/>
                <a:cs typeface="Calibri"/>
                <a:sym typeface="Calibri"/>
              </a:rPr>
              <a:t> </a:t>
            </a:r>
            <a:r>
              <a:rPr lang="en-US">
                <a:sym typeface="Calibri"/>
              </a:rPr>
              <a:t>den </a:t>
            </a:r>
            <a:r>
              <a:rPr lang="en-US" err="1">
                <a:sym typeface="Calibri"/>
              </a:rPr>
              <a:t>aktuellen</a:t>
            </a:r>
            <a:r>
              <a:rPr lang="en-US">
                <a:sym typeface="Calibri"/>
              </a:rPr>
              <a:t> </a:t>
            </a:r>
            <a:r>
              <a:rPr lang="en-US" err="1">
                <a:sym typeface="Calibri"/>
              </a:rPr>
              <a:t>Betriebszustand</a:t>
            </a:r>
            <a:r>
              <a:rPr lang="en-US">
                <a:sym typeface="Calibri"/>
              </a:rPr>
              <a:t> </a:t>
            </a:r>
            <a:r>
              <a:rPr lang="en-US" err="1">
                <a:sym typeface="Calibri"/>
              </a:rPr>
              <a:t>innerhalb</a:t>
            </a:r>
            <a:r>
              <a:rPr lang="en-US">
                <a:sym typeface="Calibri"/>
              </a:rPr>
              <a:t> von 5s in der App </a:t>
            </a:r>
            <a:r>
              <a:rPr lang="en-US" err="1">
                <a:sym typeface="Calibri"/>
              </a:rPr>
              <a:t>darstellen</a:t>
            </a:r>
            <a:r>
              <a:rPr lang="en-US">
                <a:sym typeface="Calibri"/>
              </a:rPr>
              <a:t>.</a:t>
            </a:r>
            <a:endParaRPr lang="en-US" b="0" i="0" u="none" strike="noStrike" cap="none">
              <a:effectLst/>
              <a:latin typeface="Calibri"/>
              <a:ea typeface="Calibri"/>
              <a:cs typeface="Calibri"/>
              <a:sym typeface="Calibri"/>
            </a:endParaRPr>
          </a:p>
          <a:p>
            <a:r>
              <a:rPr lang="en-US" err="1">
                <a:latin typeface="Calibri"/>
                <a:ea typeface="Calibri"/>
                <a:cs typeface="Calibri"/>
              </a:rPr>
              <a:t>Warbarkeit</a:t>
            </a:r>
            <a:r>
              <a:rPr lang="en-US">
                <a:latin typeface="Calibri"/>
                <a:ea typeface="Calibri"/>
                <a:cs typeface="Calibri"/>
              </a:rPr>
              <a:t> </a:t>
            </a:r>
            <a:r>
              <a:rPr lang="en-US" err="1">
                <a:latin typeface="Calibri"/>
                <a:ea typeface="Calibri"/>
                <a:cs typeface="Calibri"/>
              </a:rPr>
              <a:t>haben</a:t>
            </a:r>
            <a:r>
              <a:rPr lang="en-US">
                <a:latin typeface="Calibri"/>
                <a:ea typeface="Calibri"/>
                <a:cs typeface="Calibri"/>
              </a:rPr>
              <a:t> </a:t>
            </a:r>
            <a:r>
              <a:rPr lang="en-US" err="1">
                <a:latin typeface="Calibri"/>
                <a:ea typeface="Calibri"/>
                <a:cs typeface="Calibri"/>
              </a:rPr>
              <a:t>wir</a:t>
            </a:r>
            <a:r>
              <a:rPr lang="en-US">
                <a:latin typeface="Calibri"/>
                <a:ea typeface="Calibri"/>
                <a:cs typeface="Calibri"/>
              </a:rPr>
              <a:t> in der BBV </a:t>
            </a:r>
            <a:r>
              <a:rPr lang="en-US" err="1">
                <a:latin typeface="Calibri"/>
                <a:ea typeface="Calibri"/>
                <a:cs typeface="Calibri"/>
              </a:rPr>
              <a:t>immer</a:t>
            </a:r>
            <a:r>
              <a:rPr lang="en-US">
                <a:latin typeface="Calibri"/>
                <a:ea typeface="Calibri"/>
                <a:cs typeface="Calibri"/>
              </a:rPr>
              <a:t> </a:t>
            </a:r>
            <a:r>
              <a:rPr lang="en-US" err="1">
                <a:latin typeface="Calibri"/>
                <a:ea typeface="Calibri"/>
                <a:cs typeface="Calibri"/>
              </a:rPr>
              <a:t>automatisch</a:t>
            </a:r>
            <a:r>
              <a:rPr lang="en-US">
                <a:latin typeface="Calibri"/>
                <a:ea typeface="Calibri"/>
                <a:cs typeface="Calibri"/>
              </a:rPr>
              <a:t>: Commitment </a:t>
            </a:r>
            <a:r>
              <a:rPr lang="en-US" err="1">
                <a:latin typeface="Calibri"/>
                <a:ea typeface="Calibri"/>
                <a:cs typeface="Calibri"/>
              </a:rPr>
              <a:t>zu</a:t>
            </a:r>
            <a:r>
              <a:rPr lang="en-US">
                <a:latin typeface="Calibri"/>
                <a:ea typeface="Calibri"/>
                <a:cs typeface="Calibri"/>
              </a:rPr>
              <a:t> Clean-Code und TDD.</a:t>
            </a:r>
            <a:endParaRPr lang="en-US" b="0" i="0" u="none" strike="noStrike" cap="none">
              <a:latin typeface="Calibri"/>
              <a:ea typeface="Calibri"/>
              <a:cs typeface="Calibri"/>
            </a:endParaRPr>
          </a:p>
          <a:p>
            <a:r>
              <a:rPr lang="en-US">
                <a:latin typeface="Calibri"/>
                <a:ea typeface="Calibri"/>
                <a:cs typeface="Calibri"/>
              </a:rPr>
              <a:t>Leicht </a:t>
            </a:r>
            <a:r>
              <a:rPr lang="en-US" err="1">
                <a:latin typeface="Calibri"/>
                <a:ea typeface="Calibri"/>
                <a:cs typeface="Calibri"/>
              </a:rPr>
              <a:t>durch</a:t>
            </a:r>
            <a:r>
              <a:rPr lang="en-US">
                <a:latin typeface="Calibri"/>
                <a:ea typeface="Calibri"/>
                <a:cs typeface="Calibri"/>
              </a:rPr>
              <a:t> </a:t>
            </a:r>
            <a:r>
              <a:rPr lang="en-US" err="1">
                <a:latin typeface="Calibri"/>
                <a:ea typeface="Calibri"/>
                <a:cs typeface="Calibri"/>
              </a:rPr>
              <a:t>installieren</a:t>
            </a:r>
            <a:r>
              <a:rPr lang="en-US">
                <a:latin typeface="Calibri"/>
                <a:ea typeface="Calibri"/>
                <a:cs typeface="Calibri"/>
              </a:rPr>
              <a:t>: So </a:t>
            </a:r>
            <a:r>
              <a:rPr lang="en-US" err="1">
                <a:latin typeface="Calibri"/>
                <a:ea typeface="Calibri"/>
                <a:cs typeface="Calibri"/>
              </a:rPr>
              <a:t>schwierig</a:t>
            </a:r>
            <a:r>
              <a:rPr lang="en-US">
                <a:latin typeface="Calibri"/>
                <a:ea typeface="Calibri"/>
                <a:cs typeface="Calibri"/>
              </a:rPr>
              <a:t> </a:t>
            </a:r>
            <a:r>
              <a:rPr lang="en-US" err="1">
                <a:latin typeface="Calibri"/>
                <a:ea typeface="Calibri"/>
                <a:cs typeface="Calibri"/>
              </a:rPr>
              <a:t>wie</a:t>
            </a:r>
            <a:r>
              <a:rPr lang="en-US">
                <a:latin typeface="Calibri"/>
                <a:ea typeface="Calibri"/>
                <a:cs typeface="Calibri"/>
              </a:rPr>
              <a:t> die </a:t>
            </a:r>
            <a:r>
              <a:rPr lang="en-US" err="1">
                <a:latin typeface="Calibri"/>
                <a:ea typeface="Calibri"/>
                <a:cs typeface="Calibri"/>
              </a:rPr>
              <a:t>Eingabe</a:t>
            </a:r>
            <a:r>
              <a:rPr lang="en-US">
                <a:latin typeface="Calibri"/>
                <a:ea typeface="Calibri"/>
                <a:cs typeface="Calibri"/>
              </a:rPr>
              <a:t> </a:t>
            </a:r>
            <a:r>
              <a:rPr lang="en-US" err="1">
                <a:latin typeface="Calibri"/>
                <a:ea typeface="Calibri"/>
                <a:cs typeface="Calibri"/>
              </a:rPr>
              <a:t>einer</a:t>
            </a:r>
            <a:r>
              <a:rPr lang="en-US">
                <a:latin typeface="Calibri"/>
                <a:ea typeface="Calibri"/>
                <a:cs typeface="Calibri"/>
              </a:rPr>
              <a:t> </a:t>
            </a:r>
            <a:r>
              <a:rPr lang="en-US" err="1">
                <a:latin typeface="Calibri"/>
                <a:ea typeface="Calibri"/>
                <a:cs typeface="Calibri"/>
              </a:rPr>
              <a:t>Url</a:t>
            </a:r>
            <a:r>
              <a:rPr lang="en-US">
                <a:latin typeface="Calibri"/>
                <a:ea typeface="Calibri"/>
                <a:cs typeface="Calibri"/>
              </a:rPr>
              <a:t>, </a:t>
            </a:r>
            <a:r>
              <a:rPr lang="en-US" err="1">
                <a:latin typeface="Calibri"/>
                <a:ea typeface="Calibri"/>
                <a:cs typeface="Calibri"/>
              </a:rPr>
              <a:t>oder</a:t>
            </a:r>
            <a:r>
              <a:rPr lang="en-US">
                <a:latin typeface="Calibri"/>
                <a:ea typeface="Calibri"/>
                <a:cs typeface="Calibri"/>
              </a:rPr>
              <a:t> </a:t>
            </a:r>
            <a:r>
              <a:rPr lang="en-US" err="1">
                <a:latin typeface="Calibri"/>
                <a:ea typeface="Calibri"/>
                <a:cs typeface="Calibri"/>
              </a:rPr>
              <a:t>Scannen</a:t>
            </a:r>
            <a:r>
              <a:rPr lang="en-US">
                <a:latin typeface="Calibri"/>
                <a:ea typeface="Calibri"/>
                <a:cs typeface="Calibri"/>
              </a:rPr>
              <a:t> </a:t>
            </a:r>
            <a:r>
              <a:rPr lang="en-US" err="1">
                <a:latin typeface="Calibri"/>
                <a:ea typeface="Calibri"/>
                <a:cs typeface="Calibri"/>
              </a:rPr>
              <a:t>eines</a:t>
            </a:r>
            <a:r>
              <a:rPr lang="en-US">
                <a:latin typeface="Calibri"/>
                <a:ea typeface="Calibri"/>
                <a:cs typeface="Calibri"/>
              </a:rPr>
              <a:t> QR-Codes.</a:t>
            </a:r>
          </a:p>
          <a:p>
            <a:r>
              <a:rPr lang="en-US">
                <a:latin typeface="Calibri"/>
                <a:ea typeface="Calibri"/>
                <a:cs typeface="Calibri"/>
              </a:rPr>
              <a:t>Die </a:t>
            </a:r>
            <a:r>
              <a:rPr lang="en-US" err="1">
                <a:latin typeface="Calibri"/>
                <a:ea typeface="Calibri"/>
                <a:cs typeface="Calibri"/>
              </a:rPr>
              <a:t>offene</a:t>
            </a:r>
            <a:r>
              <a:rPr lang="en-US">
                <a:latin typeface="Calibri"/>
                <a:ea typeface="Calibri"/>
                <a:cs typeface="Calibri"/>
              </a:rPr>
              <a:t> JSON-</a:t>
            </a:r>
            <a:r>
              <a:rPr lang="en-US" err="1">
                <a:latin typeface="Calibri"/>
                <a:ea typeface="Calibri"/>
                <a:cs typeface="Calibri"/>
              </a:rPr>
              <a:t>Schnittstellen</a:t>
            </a:r>
            <a:r>
              <a:rPr lang="en-US">
                <a:latin typeface="Calibri"/>
                <a:ea typeface="Calibri"/>
                <a:cs typeface="Calibri"/>
              </a:rPr>
              <a:t> und Standard-</a:t>
            </a:r>
            <a:r>
              <a:rPr lang="en-US" err="1">
                <a:latin typeface="Calibri"/>
                <a:ea typeface="Calibri"/>
                <a:cs typeface="Calibri"/>
              </a:rPr>
              <a:t>Protokolle</a:t>
            </a:r>
            <a:r>
              <a:rPr lang="en-US">
                <a:latin typeface="Calibri"/>
                <a:ea typeface="Calibri"/>
                <a:cs typeface="Calibri"/>
              </a:rPr>
              <a:t> </a:t>
            </a:r>
            <a:r>
              <a:rPr lang="en-US" err="1">
                <a:latin typeface="Calibri"/>
                <a:ea typeface="Calibri"/>
                <a:cs typeface="Calibri"/>
              </a:rPr>
              <a:t>wie</a:t>
            </a:r>
            <a:r>
              <a:rPr lang="en-US">
                <a:latin typeface="Calibri"/>
                <a:ea typeface="Calibri"/>
                <a:cs typeface="Calibri"/>
              </a:rPr>
              <a:t> MQTT, </a:t>
            </a:r>
            <a:r>
              <a:rPr lang="en-US" err="1">
                <a:latin typeface="Calibri"/>
                <a:ea typeface="Calibri"/>
                <a:cs typeface="Calibri"/>
              </a:rPr>
              <a:t>lassen</a:t>
            </a:r>
            <a:r>
              <a:rPr lang="en-US">
                <a:latin typeface="Calibri"/>
                <a:ea typeface="Calibri"/>
                <a:cs typeface="Calibri"/>
              </a:rPr>
              <a:t> </a:t>
            </a:r>
            <a:r>
              <a:rPr lang="en-US" err="1">
                <a:latin typeface="Calibri"/>
                <a:ea typeface="Calibri"/>
                <a:cs typeface="Calibri"/>
              </a:rPr>
              <a:t>sich</a:t>
            </a:r>
            <a:r>
              <a:rPr lang="en-US">
                <a:latin typeface="Calibri"/>
                <a:ea typeface="Calibri"/>
                <a:cs typeface="Calibri"/>
              </a:rPr>
              <a:t> </a:t>
            </a:r>
            <a:r>
              <a:rPr lang="en-US" err="1">
                <a:latin typeface="Calibri"/>
                <a:ea typeface="Calibri"/>
                <a:cs typeface="Calibri"/>
              </a:rPr>
              <a:t>beliebige</a:t>
            </a:r>
            <a:r>
              <a:rPr lang="en-US">
                <a:latin typeface="Calibri"/>
                <a:ea typeface="Calibri"/>
                <a:cs typeface="Calibri"/>
              </a:rPr>
              <a:t> Systeme </a:t>
            </a:r>
            <a:r>
              <a:rPr lang="en-US" err="1">
                <a:latin typeface="Calibri"/>
                <a:ea typeface="Calibri"/>
                <a:cs typeface="Calibri"/>
              </a:rPr>
              <a:t>integrieren</a:t>
            </a:r>
            <a:r>
              <a:rPr lang="en-US">
                <a:latin typeface="Calibri"/>
                <a:ea typeface="Calibri"/>
                <a:cs typeface="Calibri"/>
              </a:rPr>
              <a:t>.</a:t>
            </a:r>
          </a:p>
          <a:p>
            <a:endParaRPr lang="en-US">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Functional Suitabil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This characteristic represents the degree to which a product or system provides functions that meet stated and implied needs when used under specified conditions.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Functional completeness.</a:t>
            </a:r>
            <a:r>
              <a:rPr lang="en-US" sz="3200">
                <a:solidFill>
                  <a:schemeClr val="dk1"/>
                </a:solidFill>
                <a:latin typeface="Calibri"/>
                <a:ea typeface="Calibri"/>
                <a:cs typeface="Calibri"/>
                <a:sym typeface="Calibri"/>
              </a:rPr>
              <a:t> Degree to which the set of functions covers all the specified tasks and user objective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Functional correctness.</a:t>
            </a:r>
            <a:r>
              <a:rPr lang="en-US" sz="3200">
                <a:solidFill>
                  <a:schemeClr val="dk1"/>
                </a:solidFill>
                <a:latin typeface="Calibri"/>
                <a:ea typeface="Calibri"/>
                <a:cs typeface="Calibri"/>
                <a:sym typeface="Calibri"/>
              </a:rPr>
              <a:t> Degree to which a product or system provides the correct results with the needed degree of precision.</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Functional appropriateness.</a:t>
            </a:r>
            <a:r>
              <a:rPr lang="en-US" sz="3200">
                <a:solidFill>
                  <a:schemeClr val="dk1"/>
                </a:solidFill>
                <a:latin typeface="Calibri"/>
                <a:ea typeface="Calibri"/>
                <a:cs typeface="Calibri"/>
                <a:sym typeface="Calibri"/>
              </a:rPr>
              <a:t> Degree to which the functions facilitate the accomplishment of specified tasks and objectives.</a:t>
            </a:r>
            <a:endParaRPr lang="de-CH" sz="3200">
              <a:solidFill>
                <a:schemeClr val="dk1"/>
              </a:solidFill>
              <a:latin typeface="Calibri"/>
              <a:ea typeface="Calibri"/>
              <a:cs typeface="Calibri"/>
              <a:sym typeface="Calibri"/>
            </a:endParaRPr>
          </a:p>
          <a:p>
            <a:pPr lvl="0"/>
            <a:endParaRPr lang="en-US" sz="3200">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Reliabil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Degree to which a system, product or component performs specified functions under specified conditions for a specified period of time.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Maturity.</a:t>
            </a:r>
            <a:r>
              <a:rPr lang="en-US" sz="3200">
                <a:solidFill>
                  <a:schemeClr val="dk1"/>
                </a:solidFill>
                <a:latin typeface="Calibri"/>
                <a:ea typeface="Calibri"/>
                <a:cs typeface="Calibri"/>
                <a:sym typeface="Calibri"/>
              </a:rPr>
              <a:t> Degree to which a system, product or component meets needs for reliability under normal operation.</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Availability</a:t>
            </a:r>
            <a:r>
              <a:rPr lang="en-US" sz="3200">
                <a:solidFill>
                  <a:schemeClr val="dk1"/>
                </a:solidFill>
                <a:latin typeface="Calibri"/>
                <a:ea typeface="Calibri"/>
                <a:cs typeface="Calibri"/>
                <a:sym typeface="Calibri"/>
              </a:rPr>
              <a:t>. Degree to which a system, product or component is operational and accessible when required for use.</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Fault tolerance.</a:t>
            </a:r>
            <a:r>
              <a:rPr lang="en-US" sz="3200">
                <a:solidFill>
                  <a:schemeClr val="dk1"/>
                </a:solidFill>
                <a:latin typeface="Calibri"/>
                <a:ea typeface="Calibri"/>
                <a:cs typeface="Calibri"/>
                <a:sym typeface="Calibri"/>
              </a:rPr>
              <a:t> Degree to which a system, product or component operates as intended despite the presence of hardware or software fault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Recoverability.</a:t>
            </a:r>
            <a:r>
              <a:rPr lang="en-US" sz="3200">
                <a:solidFill>
                  <a:schemeClr val="dk1"/>
                </a:solidFill>
                <a:latin typeface="Calibri"/>
                <a:ea typeface="Calibri"/>
                <a:cs typeface="Calibri"/>
                <a:sym typeface="Calibri"/>
              </a:rPr>
              <a:t> Degree to which, in the event of an interruption or a failure, a product or system can recover the data directly affected and re-establish the desired state of the system.</a:t>
            </a:r>
            <a:endParaRPr lang="de-CH" sz="3200">
              <a:solidFill>
                <a:schemeClr val="dk1"/>
              </a:solidFill>
              <a:latin typeface="Calibri"/>
              <a:ea typeface="Calibri"/>
              <a:cs typeface="Calibri"/>
              <a:sym typeface="Calibri"/>
            </a:endParaRPr>
          </a:p>
          <a:p>
            <a:pPr lvl="0"/>
            <a:endParaRPr lang="en-US" sz="3200">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Usabil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Degree to which a product or system can be used by specified users to achieve specified goals with effectiveness, efficiency and satisfaction in a specified context of use.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Appropriateness recognizability.</a:t>
            </a:r>
            <a:r>
              <a:rPr lang="en-US" sz="3200">
                <a:solidFill>
                  <a:schemeClr val="dk1"/>
                </a:solidFill>
                <a:latin typeface="Calibri"/>
                <a:ea typeface="Calibri"/>
                <a:cs typeface="Calibri"/>
                <a:sym typeface="Calibri"/>
              </a:rPr>
              <a:t> Degree to which users can recognize whether a product or system is appropriate for their need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Learnability.</a:t>
            </a:r>
            <a:r>
              <a:rPr lang="en-US" sz="3200">
                <a:solidFill>
                  <a:schemeClr val="dk1"/>
                </a:solidFill>
                <a:latin typeface="Calibri"/>
                <a:ea typeface="Calibri"/>
                <a:cs typeface="Calibri"/>
                <a:sym typeface="Calibri"/>
              </a:rPr>
              <a:t> degree to which a product or system can be used by specified users to achieve specified goals of learning to use the product or system with effectiveness, efficiency, freedom from risk and satisfaction in a specified context of use.</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Operability.</a:t>
            </a:r>
            <a:r>
              <a:rPr lang="en-US" sz="3200">
                <a:solidFill>
                  <a:schemeClr val="dk1"/>
                </a:solidFill>
                <a:latin typeface="Calibri"/>
                <a:ea typeface="Calibri"/>
                <a:cs typeface="Calibri"/>
                <a:sym typeface="Calibri"/>
              </a:rPr>
              <a:t> Degree to which a product or system has attributes that make it easy to operate and control.</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User error protection.</a:t>
            </a:r>
            <a:r>
              <a:rPr lang="en-US" sz="3200">
                <a:solidFill>
                  <a:schemeClr val="dk1"/>
                </a:solidFill>
                <a:latin typeface="Calibri"/>
                <a:ea typeface="Calibri"/>
                <a:cs typeface="Calibri"/>
                <a:sym typeface="Calibri"/>
              </a:rPr>
              <a:t> Degree to which a system protects users against making error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User interface aesthetics.</a:t>
            </a:r>
            <a:r>
              <a:rPr lang="en-US" sz="3200">
                <a:solidFill>
                  <a:schemeClr val="dk1"/>
                </a:solidFill>
                <a:latin typeface="Calibri"/>
                <a:ea typeface="Calibri"/>
                <a:cs typeface="Calibri"/>
                <a:sym typeface="Calibri"/>
              </a:rPr>
              <a:t> Degree to which a user interface enables pleasing and satisfying interaction for the user.</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Accessibility.</a:t>
            </a:r>
            <a:r>
              <a:rPr lang="en-US" sz="3200">
                <a:solidFill>
                  <a:schemeClr val="dk1"/>
                </a:solidFill>
                <a:latin typeface="Calibri"/>
                <a:ea typeface="Calibri"/>
                <a:cs typeface="Calibri"/>
                <a:sym typeface="Calibri"/>
              </a:rPr>
              <a:t> Degree to which a product or system can be used by people with the widest range of characteristics and capabilities to achieve a specified goal in a specified context of use.</a:t>
            </a:r>
            <a:endParaRPr lang="de-CH" sz="3200">
              <a:solidFill>
                <a:schemeClr val="dk1"/>
              </a:solidFill>
              <a:latin typeface="Calibri"/>
              <a:ea typeface="Calibri"/>
              <a:cs typeface="Calibri"/>
              <a:sym typeface="Calibri"/>
            </a:endParaRPr>
          </a:p>
          <a:p>
            <a:pPr lvl="0"/>
            <a:endParaRPr lang="en-US" sz="3200">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Secur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Degree to which a product or system protects information and data so that persons or other products or systems have the degree of data access appropriate to their types and levels of authorization.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Confidentiality.</a:t>
            </a:r>
            <a:r>
              <a:rPr lang="en-US" sz="3200">
                <a:solidFill>
                  <a:schemeClr val="dk1"/>
                </a:solidFill>
                <a:latin typeface="Calibri"/>
                <a:ea typeface="Calibri"/>
                <a:cs typeface="Calibri"/>
                <a:sym typeface="Calibri"/>
              </a:rPr>
              <a:t> Degree to which a product or system ensures that data are accessible only to those authorized to have acces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Integrity.</a:t>
            </a:r>
            <a:r>
              <a:rPr lang="en-US" sz="3200">
                <a:solidFill>
                  <a:schemeClr val="dk1"/>
                </a:solidFill>
                <a:latin typeface="Calibri"/>
                <a:ea typeface="Calibri"/>
                <a:cs typeface="Calibri"/>
                <a:sym typeface="Calibri"/>
              </a:rPr>
              <a:t> Degree to which a system, product or component prevents unauthorized access to, or modification of, computer programs or data.</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Non-repudiation.</a:t>
            </a:r>
            <a:r>
              <a:rPr lang="en-US" sz="3200">
                <a:solidFill>
                  <a:schemeClr val="dk1"/>
                </a:solidFill>
                <a:latin typeface="Calibri"/>
                <a:ea typeface="Calibri"/>
                <a:cs typeface="Calibri"/>
                <a:sym typeface="Calibri"/>
              </a:rPr>
              <a:t> degree to which actions or events can be proven to have taken place, so that the events or actions cannot be repudiated later.</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Accountability.</a:t>
            </a:r>
            <a:r>
              <a:rPr lang="en-US" sz="3200">
                <a:solidFill>
                  <a:schemeClr val="dk1"/>
                </a:solidFill>
                <a:latin typeface="Calibri"/>
                <a:ea typeface="Calibri"/>
                <a:cs typeface="Calibri"/>
                <a:sym typeface="Calibri"/>
              </a:rPr>
              <a:t> Degree to which the actions of an entity can be traced uniquely to the entity.</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Authenticity.</a:t>
            </a:r>
            <a:r>
              <a:rPr lang="en-US" sz="3200">
                <a:solidFill>
                  <a:schemeClr val="dk1"/>
                </a:solidFill>
                <a:latin typeface="Calibri"/>
                <a:ea typeface="Calibri"/>
                <a:cs typeface="Calibri"/>
                <a:sym typeface="Calibri"/>
              </a:rPr>
              <a:t> Degree to which the identity of a subject or resource can be proved to be the one claimed.</a:t>
            </a:r>
            <a:endParaRPr lang="de-CH" sz="3200">
              <a:solidFill>
                <a:schemeClr val="dk1"/>
              </a:solidFill>
              <a:latin typeface="Calibri"/>
              <a:ea typeface="Calibri"/>
              <a:cs typeface="Calibri"/>
              <a:sym typeface="Calibri"/>
            </a:endParaRPr>
          </a:p>
          <a:p>
            <a:pPr lvl="0"/>
            <a:endParaRPr lang="en-US" sz="3200">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Performance efficienc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This characteristic represents the performance relative to the amount of resources used under stated conditions.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Time </a:t>
            </a:r>
            <a:r>
              <a:rPr lang="en-US" sz="3200" b="1" err="1">
                <a:solidFill>
                  <a:schemeClr val="dk1"/>
                </a:solidFill>
                <a:latin typeface="Calibri"/>
                <a:ea typeface="Calibri"/>
                <a:cs typeface="Calibri"/>
                <a:sym typeface="Calibri"/>
              </a:rPr>
              <a:t>behaviour</a:t>
            </a:r>
            <a:r>
              <a:rPr lang="en-US" sz="3200" b="1">
                <a:solidFill>
                  <a:schemeClr val="dk1"/>
                </a:solidFill>
                <a:latin typeface="Calibri"/>
                <a:ea typeface="Calibri"/>
                <a:cs typeface="Calibri"/>
                <a:sym typeface="Calibri"/>
              </a:rPr>
              <a:t>.</a:t>
            </a:r>
            <a:r>
              <a:rPr lang="en-US" sz="3200">
                <a:solidFill>
                  <a:schemeClr val="dk1"/>
                </a:solidFill>
                <a:latin typeface="Calibri"/>
                <a:ea typeface="Calibri"/>
                <a:cs typeface="Calibri"/>
                <a:sym typeface="Calibri"/>
              </a:rPr>
              <a:t> Degree to which the response and processing times and throughput rates of a product or system, when performing its functions, meet requirement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Resource utilization.</a:t>
            </a:r>
            <a:r>
              <a:rPr lang="en-US" sz="3200">
                <a:solidFill>
                  <a:schemeClr val="dk1"/>
                </a:solidFill>
                <a:latin typeface="Calibri"/>
                <a:ea typeface="Calibri"/>
                <a:cs typeface="Calibri"/>
                <a:sym typeface="Calibri"/>
              </a:rPr>
              <a:t> Degree to which the amounts and types of resources used by a product or system, when performing its functions, meet requirement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Capacity.</a:t>
            </a:r>
            <a:r>
              <a:rPr lang="en-US" sz="3200">
                <a:solidFill>
                  <a:schemeClr val="dk1"/>
                </a:solidFill>
                <a:latin typeface="Calibri"/>
                <a:ea typeface="Calibri"/>
                <a:cs typeface="Calibri"/>
                <a:sym typeface="Calibri"/>
              </a:rPr>
              <a:t> Degree to which the maximum limits of a product or system parameter meet requirements.</a:t>
            </a:r>
            <a:endParaRPr lang="de-CH" sz="3200">
              <a:solidFill>
                <a:schemeClr val="dk1"/>
              </a:solidFill>
              <a:latin typeface="Calibri"/>
              <a:ea typeface="Calibri"/>
              <a:cs typeface="Calibri"/>
              <a:sym typeface="Calibri"/>
            </a:endParaRPr>
          </a:p>
          <a:p>
            <a:pPr lvl="0"/>
            <a:endParaRPr lang="en-US" sz="3200">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Maintainabil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This characteristic represents the degree of effectiveness and efficiency with which a product or system can be modified to improve it, correct it or adapt it to changes in environment, and in requirements.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Modularity.</a:t>
            </a:r>
            <a:r>
              <a:rPr lang="en-US" sz="3200">
                <a:solidFill>
                  <a:schemeClr val="dk1"/>
                </a:solidFill>
                <a:latin typeface="Calibri"/>
                <a:ea typeface="Calibri"/>
                <a:cs typeface="Calibri"/>
                <a:sym typeface="Calibri"/>
              </a:rPr>
              <a:t> Degree to which a system or computer program is composed of discrete components such that a change to one component has minimal impact on other components.</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Reusability.</a:t>
            </a:r>
            <a:r>
              <a:rPr lang="en-US" sz="3200">
                <a:solidFill>
                  <a:schemeClr val="dk1"/>
                </a:solidFill>
                <a:latin typeface="Calibri"/>
                <a:ea typeface="Calibri"/>
                <a:cs typeface="Calibri"/>
                <a:sym typeface="Calibri"/>
              </a:rPr>
              <a:t> Degree to which an asset can be used in more than one system, or in building other assets.</a:t>
            </a:r>
            <a:endParaRPr lang="de-CH" sz="3200">
              <a:solidFill>
                <a:schemeClr val="dk1"/>
              </a:solidFill>
              <a:latin typeface="Calibri"/>
              <a:ea typeface="Calibri"/>
              <a:cs typeface="Calibri"/>
              <a:sym typeface="Calibri"/>
            </a:endParaRPr>
          </a:p>
          <a:p>
            <a:pPr lvl="1"/>
            <a:r>
              <a:rPr lang="en-US" sz="3200" b="1" err="1">
                <a:solidFill>
                  <a:schemeClr val="dk1"/>
                </a:solidFill>
                <a:latin typeface="Calibri"/>
                <a:ea typeface="Calibri"/>
                <a:cs typeface="Calibri"/>
                <a:sym typeface="Calibri"/>
              </a:rPr>
              <a:t>Analysability</a:t>
            </a:r>
            <a:r>
              <a:rPr lang="en-US" sz="3200" b="1">
                <a:solidFill>
                  <a:schemeClr val="dk1"/>
                </a:solidFill>
                <a:latin typeface="Calibri"/>
                <a:ea typeface="Calibri"/>
                <a:cs typeface="Calibri"/>
                <a:sym typeface="Calibri"/>
              </a:rPr>
              <a:t>.</a:t>
            </a:r>
            <a:r>
              <a:rPr lang="en-US" sz="3200">
                <a:solidFill>
                  <a:schemeClr val="dk1"/>
                </a:solidFill>
                <a:latin typeface="Calibri"/>
                <a:ea typeface="Calibri"/>
                <a:cs typeface="Calibri"/>
                <a:sym typeface="Calibri"/>
              </a:rPr>
              <a:t> Degree of effectiveness and efficiency with which it is possible to assess the impact on a product or system of an intended change to one or more of its parts, or to diagnose a product for deficiencies or causes of failures, or to identify parts to be modified.</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Modifiability.</a:t>
            </a:r>
            <a:r>
              <a:rPr lang="en-US" sz="3200">
                <a:solidFill>
                  <a:schemeClr val="dk1"/>
                </a:solidFill>
                <a:latin typeface="Calibri"/>
                <a:ea typeface="Calibri"/>
                <a:cs typeface="Calibri"/>
                <a:sym typeface="Calibri"/>
              </a:rPr>
              <a:t> Degree to which a product or system can be effectively and efficiently modified without introducing defects or degrading existing product quality.</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Testability.</a:t>
            </a:r>
            <a:r>
              <a:rPr lang="en-US" sz="3200">
                <a:solidFill>
                  <a:schemeClr val="dk1"/>
                </a:solidFill>
                <a:latin typeface="Calibri"/>
                <a:ea typeface="Calibri"/>
                <a:cs typeface="Calibri"/>
                <a:sym typeface="Calibri"/>
              </a:rPr>
              <a:t> Degree of effectiveness and efficiency with which test criteria can be established for a system, product or component and tests can be performed to determine whether those criteria have been met.</a:t>
            </a:r>
            <a:endParaRPr lang="de-CH" sz="3200">
              <a:solidFill>
                <a:schemeClr val="dk1"/>
              </a:solidFill>
              <a:latin typeface="Calibri"/>
              <a:ea typeface="Calibri"/>
              <a:cs typeface="Calibri"/>
              <a:sym typeface="Calibri"/>
            </a:endParaRPr>
          </a:p>
          <a:p>
            <a:pPr lvl="0"/>
            <a:r>
              <a:rPr lang="en-US" sz="3200">
                <a:solidFill>
                  <a:schemeClr val="dk1"/>
                </a:solidFill>
                <a:latin typeface="Calibri"/>
                <a:ea typeface="Calibri"/>
                <a:cs typeface="Calibri"/>
                <a:sym typeface="Calibri"/>
              </a:rPr>
              <a:t>Portabil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Degree of effectiveness and efficiency with which a system, product or component can be transferred from one hardware, software or other operational or usage environment to another.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Adaptability.</a:t>
            </a:r>
            <a:r>
              <a:rPr lang="en-US" sz="3200">
                <a:solidFill>
                  <a:schemeClr val="dk1"/>
                </a:solidFill>
                <a:latin typeface="Calibri"/>
                <a:ea typeface="Calibri"/>
                <a:cs typeface="Calibri"/>
                <a:sym typeface="Calibri"/>
              </a:rPr>
              <a:t> Degree to which a product or system can effectively and efficiently be adapted for different or evolving hardware, software or other operational or usage environments.</a:t>
            </a:r>
            <a:endParaRPr lang="de-CH" sz="3200">
              <a:solidFill>
                <a:schemeClr val="dk1"/>
              </a:solidFill>
              <a:latin typeface="Calibri"/>
              <a:ea typeface="Calibri"/>
              <a:cs typeface="Calibri"/>
              <a:sym typeface="Calibri"/>
            </a:endParaRPr>
          </a:p>
          <a:p>
            <a:pPr lvl="1"/>
            <a:r>
              <a:rPr lang="en-US" sz="3200" b="1" err="1">
                <a:solidFill>
                  <a:schemeClr val="dk1"/>
                </a:solidFill>
                <a:latin typeface="Calibri"/>
                <a:ea typeface="Calibri"/>
                <a:cs typeface="Calibri"/>
                <a:sym typeface="Calibri"/>
              </a:rPr>
              <a:t>Installability</a:t>
            </a:r>
            <a:r>
              <a:rPr lang="en-US" sz="3200" b="1">
                <a:solidFill>
                  <a:schemeClr val="dk1"/>
                </a:solidFill>
                <a:latin typeface="Calibri"/>
                <a:ea typeface="Calibri"/>
                <a:cs typeface="Calibri"/>
                <a:sym typeface="Calibri"/>
              </a:rPr>
              <a:t>.</a:t>
            </a:r>
            <a:r>
              <a:rPr lang="en-US" sz="3200">
                <a:solidFill>
                  <a:schemeClr val="dk1"/>
                </a:solidFill>
                <a:latin typeface="Calibri"/>
                <a:ea typeface="Calibri"/>
                <a:cs typeface="Calibri"/>
                <a:sym typeface="Calibri"/>
              </a:rPr>
              <a:t> Degree of effectiveness and efficiency with which a product or system can be successfully installed and/or uninstalled in a specified environment.</a:t>
            </a:r>
            <a:endParaRPr lang="de-CH" sz="3200">
              <a:solidFill>
                <a:schemeClr val="dk1"/>
              </a:solidFill>
              <a:latin typeface="Calibri"/>
              <a:ea typeface="Calibri"/>
              <a:cs typeface="Calibri"/>
              <a:sym typeface="Calibri"/>
            </a:endParaRPr>
          </a:p>
          <a:p>
            <a:pPr marL="1223473" lvl="1"/>
            <a:r>
              <a:rPr lang="en-US" b="1" i="0" u="none" strike="noStrike" cap="none">
                <a:effectLst/>
                <a:latin typeface="Calibri"/>
                <a:ea typeface="Calibri"/>
                <a:cs typeface="Calibri"/>
                <a:sym typeface="Calibri"/>
              </a:rPr>
              <a:t>Replaceability.</a:t>
            </a:r>
            <a:r>
              <a:rPr lang="en-US" b="0" i="0" u="none" strike="noStrike" cap="none">
                <a:effectLst/>
                <a:latin typeface="Calibri"/>
                <a:ea typeface="Calibri"/>
                <a:cs typeface="Calibri"/>
                <a:sym typeface="Calibri"/>
              </a:rPr>
              <a:t> Degree to which a product can replace another specified software product for the same purpose in the same environment.</a:t>
            </a:r>
            <a:endParaRPr lang="de-CH" b="0" i="0" u="none" strike="noStrike" cap="none">
              <a:latin typeface="Calibri"/>
              <a:ea typeface="Calibri"/>
              <a:cs typeface="Calibri"/>
            </a:endParaRPr>
          </a:p>
          <a:p>
            <a:pPr marL="1224750" lvl="1"/>
            <a:endParaRPr lang="en-US">
              <a:latin typeface="Calibri"/>
              <a:ea typeface="Calibri"/>
              <a:cs typeface="Calibri"/>
              <a:sym typeface="Calibri"/>
            </a:endParaRPr>
          </a:p>
          <a:p>
            <a:pPr lvl="0"/>
            <a:r>
              <a:rPr lang="en-US" sz="3200">
                <a:solidFill>
                  <a:schemeClr val="dk1"/>
                </a:solidFill>
                <a:latin typeface="Calibri"/>
                <a:ea typeface="Calibri"/>
                <a:cs typeface="Calibri"/>
                <a:sym typeface="Calibri"/>
              </a:rPr>
              <a:t>Compatibility</a:t>
            </a:r>
            <a:endParaRPr lang="de-CH" sz="3200">
              <a:solidFill>
                <a:schemeClr val="dk1"/>
              </a:solidFill>
              <a:latin typeface="Calibri"/>
              <a:ea typeface="Calibri"/>
              <a:cs typeface="Calibri"/>
              <a:sym typeface="Calibri"/>
            </a:endParaRPr>
          </a:p>
          <a:p>
            <a:r>
              <a:rPr lang="en-US" sz="3200">
                <a:solidFill>
                  <a:schemeClr val="dk1"/>
                </a:solidFill>
                <a:latin typeface="Calibri"/>
                <a:ea typeface="Calibri"/>
                <a:cs typeface="Calibri"/>
                <a:sym typeface="Calibri"/>
              </a:rPr>
              <a:t>Degree to which a product, system or component can exchange information with other products, systems or components, and/or perform its required functions, while sharing the same hardware or software environment. This characteristic is composed of the following </a:t>
            </a:r>
            <a:r>
              <a:rPr lang="en-US" sz="3200" err="1">
                <a:solidFill>
                  <a:schemeClr val="dk1"/>
                </a:solidFill>
                <a:latin typeface="Calibri"/>
                <a:ea typeface="Calibri"/>
                <a:cs typeface="Calibri"/>
                <a:sym typeface="Calibri"/>
              </a:rPr>
              <a:t>subcharacteristics</a:t>
            </a:r>
            <a:r>
              <a:rPr lang="en-US" sz="3200">
                <a:solidFill>
                  <a:schemeClr val="dk1"/>
                </a:solidFill>
                <a:latin typeface="Calibri"/>
                <a:ea typeface="Calibri"/>
                <a:cs typeface="Calibri"/>
                <a:sym typeface="Calibri"/>
              </a:rPr>
              <a: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Co-existence.</a:t>
            </a:r>
            <a:r>
              <a:rPr lang="en-US" sz="3200">
                <a:solidFill>
                  <a:schemeClr val="dk1"/>
                </a:solidFill>
                <a:latin typeface="Calibri"/>
                <a:ea typeface="Calibri"/>
                <a:cs typeface="Calibri"/>
                <a:sym typeface="Calibri"/>
              </a:rPr>
              <a:t> Degree to which a product can perform its required functions efficiently while sharing a common environment and resources with other products, without detrimental impact on any other product.</a:t>
            </a:r>
            <a:endParaRPr lang="de-CH" sz="3200">
              <a:solidFill>
                <a:schemeClr val="dk1"/>
              </a:solidFill>
              <a:latin typeface="Calibri"/>
              <a:ea typeface="Calibri"/>
              <a:cs typeface="Calibri"/>
              <a:sym typeface="Calibri"/>
            </a:endParaRPr>
          </a:p>
          <a:p>
            <a:pPr lvl="1"/>
            <a:r>
              <a:rPr lang="en-US" sz="3200" b="1">
                <a:solidFill>
                  <a:schemeClr val="dk1"/>
                </a:solidFill>
                <a:latin typeface="Calibri"/>
                <a:ea typeface="Calibri"/>
                <a:cs typeface="Calibri"/>
                <a:sym typeface="Calibri"/>
              </a:rPr>
              <a:t>Interoperability.</a:t>
            </a:r>
            <a:r>
              <a:rPr lang="en-US" sz="3200">
                <a:solidFill>
                  <a:schemeClr val="dk1"/>
                </a:solidFill>
                <a:latin typeface="Calibri"/>
                <a:ea typeface="Calibri"/>
                <a:cs typeface="Calibri"/>
                <a:sym typeface="Calibri"/>
              </a:rPr>
              <a:t> Degree to which two or more systems, products or components can exchange information and use the information that has been exchanged.</a:t>
            </a:r>
            <a:endParaRPr lang="de-CH" sz="3200">
              <a:solidFill>
                <a:schemeClr val="dk1"/>
              </a:solidFill>
              <a:latin typeface="Calibri"/>
              <a:ea typeface="Calibri"/>
              <a:cs typeface="Calibri"/>
              <a:sym typeface="Calibri"/>
            </a:endParaRPr>
          </a:p>
        </p:txBody>
      </p:sp>
      <p:sp>
        <p:nvSpPr>
          <p:cNvPr id="114" name="Shape 114"/>
          <p:cNvSpPr>
            <a:spLocks noGrp="1" noRot="1" noChangeAspect="1"/>
          </p:cNvSpPr>
          <p:nvPr>
            <p:ph type="sldImg" idx="2"/>
          </p:nvPr>
        </p:nvSpPr>
        <p:spPr>
          <a:xfrm>
            <a:off x="-19064288" y="5040313"/>
            <a:ext cx="44810363" cy="25206325"/>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306699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1694347" y="4251479"/>
            <a:ext cx="10184035" cy="2074644"/>
          </a:xfrm>
        </p:spPr>
        <p:txBody>
          <a:bodyPr/>
          <a:lstStyle>
            <a:lvl1pPr>
              <a:defRPr baseline="0">
                <a:solidFill>
                  <a:schemeClr val="bg2"/>
                </a:solidFill>
              </a:defRPr>
            </a:lvl1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6" name="Bildplatzhalter 5"/>
          <p:cNvSpPr>
            <a:spLocks noGrp="1"/>
          </p:cNvSpPr>
          <p:nvPr>
            <p:ph type="pic" sz="quarter" idx="11"/>
          </p:nvPr>
        </p:nvSpPr>
        <p:spPr>
          <a:xfrm>
            <a:off x="0" y="1"/>
            <a:ext cx="12192000" cy="2804583"/>
          </a:xfrm>
          <a:solidFill>
            <a:schemeClr val="bg1">
              <a:lumMod val="95000"/>
            </a:schemeClr>
          </a:solidFill>
        </p:spPr>
        <p:txBody>
          <a:bodyPr/>
          <a:lstStyle>
            <a:lvl1pPr>
              <a:defRPr baseline="0"/>
            </a:lvl1pPr>
          </a:lstStyle>
          <a:p>
            <a:r>
              <a:rPr lang="en-US"/>
              <a:t>Click icon to add picture</a:t>
            </a:r>
            <a:endParaRPr lang="de-CH"/>
          </a:p>
        </p:txBody>
      </p:sp>
      <p:pic>
        <p:nvPicPr>
          <p:cNvPr id="7" name="Bild 8"/>
          <p:cNvPicPr>
            <a:picLocks noChangeAspect="1"/>
          </p:cNvPicPr>
          <p:nvPr userDrawn="1"/>
        </p:nvPicPr>
        <p:blipFill>
          <a:blip r:embed="rId2"/>
          <a:stretch>
            <a:fillRect/>
          </a:stretch>
        </p:blipFill>
        <p:spPr>
          <a:xfrm>
            <a:off x="362139" y="3234631"/>
            <a:ext cx="1018892" cy="573932"/>
          </a:xfrm>
          <a:prstGeom prst="rect">
            <a:avLst/>
          </a:prstGeom>
        </p:spPr>
      </p:pic>
      <p:sp>
        <p:nvSpPr>
          <p:cNvPr id="8" name="Titel 2"/>
          <p:cNvSpPr>
            <a:spLocks noGrp="1"/>
          </p:cNvSpPr>
          <p:nvPr>
            <p:ph type="title"/>
          </p:nvPr>
        </p:nvSpPr>
        <p:spPr>
          <a:xfrm>
            <a:off x="1694348" y="3346575"/>
            <a:ext cx="10184034" cy="571321"/>
          </a:xfrm>
        </p:spPr>
        <p:txBody>
          <a:bodyPr>
            <a:normAutofit/>
          </a:bodyPr>
          <a:lstStyle>
            <a:lvl1pPr>
              <a:defRPr sz="3000">
                <a:solidFill>
                  <a:schemeClr val="bg2"/>
                </a:solidFill>
              </a:defRPr>
            </a:lvl1pPr>
          </a:lstStyle>
          <a:p>
            <a:r>
              <a:rPr lang="en-US"/>
              <a:t>Click to edit Master title style</a:t>
            </a:r>
            <a:endParaRPr lang="en-GB"/>
          </a:p>
        </p:txBody>
      </p:sp>
    </p:spTree>
    <p:extLst>
      <p:ext uri="{BB962C8B-B14F-4D97-AF65-F5344CB8AC3E}">
        <p14:creationId xmlns:p14="http://schemas.microsoft.com/office/powerpoint/2010/main" val="3271100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05150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a:xfrm>
            <a:off x="1" y="2261440"/>
            <a:ext cx="6955241" cy="4596561"/>
          </a:xfrm>
          <a:solidFill>
            <a:schemeClr val="bg1">
              <a:lumMod val="95000"/>
            </a:schemeClr>
          </a:solidFill>
        </p:spPr>
        <p:txBody>
          <a:bodyPr/>
          <a:lstStyle/>
          <a:p>
            <a:r>
              <a:rPr lang="en-US"/>
              <a:t>Click icon to add picture</a:t>
            </a:r>
          </a:p>
        </p:txBody>
      </p:sp>
      <p:sp>
        <p:nvSpPr>
          <p:cNvPr id="10" name="Textplatzhalter 9"/>
          <p:cNvSpPr>
            <a:spLocks noGrp="1"/>
          </p:cNvSpPr>
          <p:nvPr>
            <p:ph type="body" sz="quarter" idx="14"/>
          </p:nvPr>
        </p:nvSpPr>
        <p:spPr>
          <a:xfrm>
            <a:off x="7539041" y="2260600"/>
            <a:ext cx="4072993" cy="3057800"/>
          </a:xfrm>
        </p:spPr>
        <p:txBody>
          <a:bodyPr/>
          <a:lstStyle>
            <a:lvl1pPr>
              <a:defRPr sz="1800" baseline="0"/>
            </a:lvl1pPr>
          </a:lstStyle>
          <a:p>
            <a:pPr lvl="0"/>
            <a:r>
              <a:rPr lang="en-US"/>
              <a:t>Edit Master text styles</a:t>
            </a:r>
          </a:p>
        </p:txBody>
      </p:sp>
      <p:sp>
        <p:nvSpPr>
          <p:cNvPr id="17" name="Textplatzhalter 16"/>
          <p:cNvSpPr>
            <a:spLocks noGrp="1"/>
          </p:cNvSpPr>
          <p:nvPr>
            <p:ph type="body" sz="quarter" idx="16"/>
          </p:nvPr>
        </p:nvSpPr>
        <p:spPr>
          <a:xfrm>
            <a:off x="3448051" y="2931609"/>
            <a:ext cx="3268133" cy="3126316"/>
          </a:xfrm>
          <a:solidFill>
            <a:schemeClr val="accent1"/>
          </a:solidFill>
        </p:spPr>
        <p:txBody>
          <a:bodyPr tIns="108000"/>
          <a:lstStyle>
            <a:lvl1pPr marL="114297" indent="0">
              <a:spcBef>
                <a:spcPts val="0"/>
              </a:spcBef>
              <a:defRPr sz="1800" baseline="0">
                <a:solidFill>
                  <a:schemeClr val="bg1"/>
                </a:solidFill>
              </a:defRPr>
            </a:lvl1pPr>
          </a:lstStyle>
          <a:p>
            <a:pPr lvl="0"/>
            <a:r>
              <a:rPr lang="en-US"/>
              <a:t>Edit Master text styles</a:t>
            </a:r>
          </a:p>
        </p:txBody>
      </p:sp>
      <p:sp>
        <p:nvSpPr>
          <p:cNvPr id="3" name="Titel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99385044"/>
      </p:ext>
    </p:extLst>
  </p:cSld>
  <p:clrMapOvr>
    <a:masterClrMapping/>
  </p:clrMapOvr>
  <p:extLst mod="1">
    <p:ext uri="{DCECCB84-F9BA-43D5-87BE-67443E8EF086}">
      <p15:sldGuideLst xmlns:p15="http://schemas.microsoft.com/office/powerpoint/2012/main">
        <p15:guide id="1" pos="1057" userDrawn="1">
          <p15:clr>
            <a:srgbClr val="FBAE40"/>
          </p15:clr>
        </p15:guide>
        <p15:guide id="2" pos="7287" userDrawn="1">
          <p15:clr>
            <a:srgbClr val="FBAE40"/>
          </p15:clr>
        </p15:guide>
        <p15:guide id="3" pos="3840" userDrawn="1">
          <p15:clr>
            <a:srgbClr val="FBAE40"/>
          </p15:clr>
        </p15:guide>
        <p15:guide id="4"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agwort">
    <p:spTree>
      <p:nvGrpSpPr>
        <p:cNvPr id="1" name=""/>
        <p:cNvGrpSpPr/>
        <p:nvPr/>
      </p:nvGrpSpPr>
      <p:grpSpPr>
        <a:xfrm>
          <a:off x="0" y="0"/>
          <a:ext cx="0" cy="0"/>
          <a:chOff x="0" y="0"/>
          <a:chExt cx="0" cy="0"/>
        </a:xfrm>
      </p:grpSpPr>
      <p:sp>
        <p:nvSpPr>
          <p:cNvPr id="2" name="Rechteck 1"/>
          <p:cNvSpPr/>
          <p:nvPr userDrawn="1"/>
        </p:nvSpPr>
        <p:spPr>
          <a:xfrm>
            <a:off x="0" y="1457849"/>
            <a:ext cx="12201536" cy="291569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sz="3200"/>
          </a:p>
        </p:txBody>
      </p:sp>
      <p:sp>
        <p:nvSpPr>
          <p:cNvPr id="3" name="Titel 1"/>
          <p:cNvSpPr>
            <a:spLocks noGrp="1"/>
          </p:cNvSpPr>
          <p:nvPr>
            <p:ph type="title" hasCustomPrompt="1"/>
          </p:nvPr>
        </p:nvSpPr>
        <p:spPr>
          <a:xfrm>
            <a:off x="1689432" y="2435697"/>
            <a:ext cx="9888000" cy="960000"/>
          </a:xfrm>
          <a:prstGeom prst="rect">
            <a:avLst/>
          </a:prstGeom>
        </p:spPr>
        <p:txBody>
          <a:bodyPr/>
          <a:lstStyle>
            <a:lvl1pPr>
              <a:lnSpc>
                <a:spcPct val="100000"/>
              </a:lnSpc>
              <a:defRPr sz="7200" b="0">
                <a:solidFill>
                  <a:schemeClr val="accent1"/>
                </a:solidFill>
              </a:defRPr>
            </a:lvl1pPr>
          </a:lstStyle>
          <a:p>
            <a:r>
              <a:rPr lang="de-DE" sz="7200" b="1"/>
              <a:t>Schlagwort</a:t>
            </a:r>
            <a:endParaRPr lang="de-CH" sz="7200" b="1"/>
          </a:p>
        </p:txBody>
      </p:sp>
      <p:sp>
        <p:nvSpPr>
          <p:cNvPr id="7" name="Foliennummernplatzhalter 3"/>
          <p:cNvSpPr>
            <a:spLocks noGrp="1"/>
          </p:cNvSpPr>
          <p:nvPr>
            <p:ph type="sldNum" sz="quarter" idx="4"/>
          </p:nvPr>
        </p:nvSpPr>
        <p:spPr>
          <a:xfrm>
            <a:off x="11404703" y="6966012"/>
            <a:ext cx="480000" cy="240000"/>
          </a:xfrm>
          <a:prstGeom prst="rect">
            <a:avLst/>
          </a:prstGeom>
        </p:spPr>
        <p:txBody>
          <a:bodyPr vert="horz" lIns="0" tIns="0" rIns="0" bIns="0" rtlCol="0" anchor="ctr"/>
          <a:lstStyle>
            <a:lvl1pPr algn="r">
              <a:defRPr sz="800">
                <a:solidFill>
                  <a:schemeClr val="tx1">
                    <a:tint val="75000"/>
                  </a:schemeClr>
                </a:solidFill>
              </a:defRPr>
            </a:lvl1pPr>
          </a:lstStyle>
          <a:p>
            <a:fld id="{D7402FF4-3150-4BB9-8471-06339226EF9E}" type="slidenum">
              <a:rPr lang="de-CH" smtClean="0"/>
              <a:pPr/>
              <a:t>‹#›</a:t>
            </a:fld>
            <a:endParaRPr lang="de-CH"/>
          </a:p>
        </p:txBody>
      </p:sp>
      <p:sp>
        <p:nvSpPr>
          <p:cNvPr id="6" name="Rechteck 5"/>
          <p:cNvSpPr/>
          <p:nvPr userDrawn="1"/>
        </p:nvSpPr>
        <p:spPr>
          <a:xfrm>
            <a:off x="0" y="5238749"/>
            <a:ext cx="12201536" cy="1619251"/>
          </a:xfrm>
          <a:prstGeom prst="rect">
            <a:avLst/>
          </a:prstGeom>
          <a:solidFill>
            <a:schemeClr val="bg1"/>
          </a:solidFill>
        </p:spPr>
        <p:txBody>
          <a:bodyPr wrap="square" lIns="72000" tIns="72000" rIns="72000" bIns="72000" rtlCol="0" anchor="ctr">
            <a:noAutofit/>
          </a:bodyPr>
          <a:lstStyle/>
          <a:p>
            <a:pPr algn="ctr"/>
            <a:endParaRPr lang="de-CH" sz="1600" err="1">
              <a:solidFill>
                <a:schemeClr val="bg1"/>
              </a:solidFill>
            </a:endParaRPr>
          </a:p>
        </p:txBody>
      </p:sp>
      <p:sp>
        <p:nvSpPr>
          <p:cNvPr id="8" name="Rechteck 7"/>
          <p:cNvSpPr/>
          <p:nvPr userDrawn="1"/>
        </p:nvSpPr>
        <p:spPr>
          <a:xfrm>
            <a:off x="0" y="-1"/>
            <a:ext cx="12201535" cy="1457849"/>
          </a:xfrm>
          <a:prstGeom prst="rect">
            <a:avLst/>
          </a:prstGeom>
          <a:solidFill>
            <a:schemeClr val="bg1"/>
          </a:solidFill>
        </p:spPr>
        <p:txBody>
          <a:bodyPr wrap="square" lIns="72000" tIns="72000" rIns="72000" bIns="72000" rtlCol="0" anchor="ctr">
            <a:noAutofit/>
          </a:bodyPr>
          <a:lstStyle/>
          <a:p>
            <a:pPr algn="ctr"/>
            <a:endParaRPr lang="de-CH" sz="1600" err="1">
              <a:solidFill>
                <a:schemeClr val="bg1"/>
              </a:solidFill>
            </a:endParaRPr>
          </a:p>
        </p:txBody>
      </p:sp>
      <p:sp>
        <p:nvSpPr>
          <p:cNvPr id="5" name="Textplatzhalter 4"/>
          <p:cNvSpPr>
            <a:spLocks noGrp="1"/>
          </p:cNvSpPr>
          <p:nvPr>
            <p:ph type="body" sz="quarter" idx="10" hasCustomPrompt="1"/>
          </p:nvPr>
        </p:nvSpPr>
        <p:spPr>
          <a:xfrm>
            <a:off x="1689432" y="4438650"/>
            <a:ext cx="9888000" cy="590550"/>
          </a:xfrm>
          <a:noFill/>
        </p:spPr>
        <p:txBody>
          <a:bodyPr wrap="none" lIns="0" tIns="0" rIns="0" bIns="0" rtlCol="0" anchor="ctr">
            <a:noAutofit/>
          </a:bodyPr>
          <a:lstStyle>
            <a:lvl1pPr>
              <a:defRPr lang="de-CH" sz="2800" kern="1200" baseline="0" dirty="0">
                <a:cs typeface="+mn-cs"/>
              </a:defRPr>
            </a:lvl1pPr>
          </a:lstStyle>
          <a:p>
            <a:pPr lvl="0" defTabSz="609585" latinLnBrk="0"/>
            <a:r>
              <a:rPr lang="de-DE"/>
              <a:t>Untertitel / Ergänzung</a:t>
            </a:r>
            <a:endParaRPr lang="de-CH"/>
          </a:p>
        </p:txBody>
      </p:sp>
      <p:pic>
        <p:nvPicPr>
          <p:cNvPr id="10" name="Bild 8"/>
          <p:cNvPicPr>
            <a:picLocks noChangeAspect="1"/>
          </p:cNvPicPr>
          <p:nvPr userDrawn="1"/>
        </p:nvPicPr>
        <p:blipFill>
          <a:blip r:embed="rId2"/>
          <a:stretch>
            <a:fillRect/>
          </a:stretch>
        </p:blipFill>
        <p:spPr>
          <a:xfrm>
            <a:off x="313617" y="348552"/>
            <a:ext cx="1115936" cy="628597"/>
          </a:xfrm>
          <a:prstGeom prst="rect">
            <a:avLst/>
          </a:prstGeom>
        </p:spPr>
      </p:pic>
    </p:spTree>
    <p:extLst>
      <p:ext uri="{BB962C8B-B14F-4D97-AF65-F5344CB8AC3E}">
        <p14:creationId xmlns:p14="http://schemas.microsoft.com/office/powerpoint/2010/main" val="16848570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Inhalt Einspaltig">
  <p:cSld name="1_Inhalt Einspaltig">
    <p:spTree>
      <p:nvGrpSpPr>
        <p:cNvPr id="1" name="Shape 25"/>
        <p:cNvGrpSpPr/>
        <p:nvPr/>
      </p:nvGrpSpPr>
      <p:grpSpPr>
        <a:xfrm>
          <a:off x="0" y="0"/>
          <a:ext cx="0" cy="0"/>
          <a:chOff x="0" y="0"/>
          <a:chExt cx="0" cy="0"/>
        </a:xfrm>
      </p:grpSpPr>
      <p:sp>
        <p:nvSpPr>
          <p:cNvPr id="26" name="Shape 26"/>
          <p:cNvSpPr txBox="1">
            <a:spLocks noGrp="1"/>
          </p:cNvSpPr>
          <p:nvPr>
            <p:ph type="body" idx="1"/>
          </p:nvPr>
        </p:nvSpPr>
        <p:spPr>
          <a:xfrm>
            <a:off x="1689431" y="1653117"/>
            <a:ext cx="10188951" cy="4656667"/>
          </a:xfrm>
          <a:prstGeom prst="rect">
            <a:avLst/>
          </a:prstGeom>
          <a:noFill/>
          <a:ln>
            <a:noFill/>
          </a:ln>
        </p:spPr>
        <p:txBody>
          <a:bodyPr spcFirstLastPara="1" wrap="square" lIns="91425" tIns="91425" rIns="91425" bIns="91425" anchor="t" anchorCtr="0"/>
          <a:lstStyle>
            <a:lvl1pPr marL="457200" marR="0" lvl="0" indent="-228600" algn="l" rtl="0">
              <a:spcBef>
                <a:spcPts val="667"/>
              </a:spcBef>
              <a:spcAft>
                <a:spcPts val="0"/>
              </a:spcAft>
              <a:buClr>
                <a:schemeClr val="lt2"/>
              </a:buClr>
              <a:buSzPts val="1800"/>
              <a:buFont typeface="Arial"/>
              <a:buNone/>
              <a:defRPr sz="1800" b="0" i="0" u="none" strike="noStrike" cap="none">
                <a:solidFill>
                  <a:schemeClr val="lt2"/>
                </a:solidFill>
                <a:latin typeface="Arial"/>
                <a:ea typeface="Arial"/>
                <a:cs typeface="Arial"/>
                <a:sym typeface="Arial"/>
              </a:defRPr>
            </a:lvl1pPr>
            <a:lvl2pPr marL="914400" marR="0" lvl="1" indent="-342900" algn="l" rtl="0">
              <a:spcBef>
                <a:spcPts val="667"/>
              </a:spcBef>
              <a:spcAft>
                <a:spcPts val="0"/>
              </a:spcAft>
              <a:buClr>
                <a:schemeClr val="accent1"/>
              </a:buClr>
              <a:buSzPts val="1800"/>
              <a:buFont typeface="Arial"/>
              <a:buChar char="•"/>
              <a:defRPr sz="1800" b="0" i="0" u="none" strike="noStrike" cap="none">
                <a:solidFill>
                  <a:schemeClr val="lt2"/>
                </a:solidFill>
                <a:latin typeface="Arial"/>
                <a:ea typeface="Arial"/>
                <a:cs typeface="Arial"/>
                <a:sym typeface="Arial"/>
              </a:defRPr>
            </a:lvl2pPr>
            <a:lvl3pPr marL="1371600" marR="0" lvl="2" indent="-342900" algn="l" rtl="0">
              <a:spcBef>
                <a:spcPts val="667"/>
              </a:spcBef>
              <a:spcAft>
                <a:spcPts val="0"/>
              </a:spcAft>
              <a:buClr>
                <a:schemeClr val="accent1"/>
              </a:buClr>
              <a:buSzPts val="1800"/>
              <a:buFont typeface="Courier New"/>
              <a:buChar char="o"/>
              <a:defRPr sz="1800" b="0" i="0" u="none" strike="noStrike" cap="none">
                <a:solidFill>
                  <a:schemeClr val="lt2"/>
                </a:solidFill>
                <a:latin typeface="Arial"/>
                <a:ea typeface="Arial"/>
                <a:cs typeface="Arial"/>
                <a:sym typeface="Arial"/>
              </a:defRPr>
            </a:lvl3pPr>
            <a:lvl4pPr marL="1828800" marR="0" lvl="3" indent="-317500" algn="l" rtl="0">
              <a:spcBef>
                <a:spcPts val="333"/>
              </a:spcBef>
              <a:spcAft>
                <a:spcPts val="0"/>
              </a:spcAft>
              <a:buClr>
                <a:schemeClr val="accent1"/>
              </a:buClr>
              <a:buSzPts val="1400"/>
              <a:buFont typeface="Arial"/>
              <a:buChar char="−"/>
              <a:defRPr sz="1400" b="0" i="0" u="none" strike="noStrike" cap="none">
                <a:solidFill>
                  <a:schemeClr val="lt2"/>
                </a:solidFill>
                <a:latin typeface="Arial"/>
                <a:ea typeface="Arial"/>
                <a:cs typeface="Arial"/>
                <a:sym typeface="Arial"/>
              </a:defRPr>
            </a:lvl4pPr>
            <a:lvl5pPr marL="2286000" marR="0" lvl="4"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5pPr>
            <a:lvl6pPr marL="2743200" marR="0" lvl="5"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6pPr>
            <a:lvl7pPr marL="3200400" marR="0" lvl="6" indent="-317500" algn="l" rtl="0">
              <a:spcBef>
                <a:spcPts val="333"/>
              </a:spcBef>
              <a:spcAft>
                <a:spcPts val="0"/>
              </a:spcAft>
              <a:buClr>
                <a:schemeClr val="accent1"/>
              </a:buClr>
              <a:buSzPts val="1400"/>
              <a:buFont typeface="Arial"/>
              <a:buAutoNum type="arabicPeriod"/>
              <a:defRPr sz="1400" b="0" i="0" u="none" strike="noStrike" cap="none">
                <a:solidFill>
                  <a:schemeClr val="lt2"/>
                </a:solidFill>
                <a:latin typeface="Arial"/>
                <a:ea typeface="Arial"/>
                <a:cs typeface="Arial"/>
                <a:sym typeface="Arial"/>
              </a:defRPr>
            </a:lvl7pPr>
            <a:lvl8pPr marL="3657600" marR="0" lvl="7" indent="-228600" algn="l" rtl="0">
              <a:spcBef>
                <a:spcPts val="667"/>
              </a:spcBef>
              <a:spcAft>
                <a:spcPts val="0"/>
              </a:spcAft>
              <a:buClr>
                <a:srgbClr val="C00000"/>
              </a:buClr>
              <a:buSzPts val="1800"/>
              <a:buFont typeface="Arial"/>
              <a:buNone/>
              <a:defRPr sz="1800" b="0" i="0" u="none" strike="noStrike" cap="none">
                <a:solidFill>
                  <a:schemeClr val="lt2"/>
                </a:solidFill>
                <a:latin typeface="Arial"/>
                <a:ea typeface="Arial"/>
                <a:cs typeface="Arial"/>
                <a:sym typeface="Arial"/>
              </a:defRPr>
            </a:lvl8pPr>
            <a:lvl9pPr marL="4114800" marR="0" lvl="8" indent="-228600" algn="l" rtl="0">
              <a:spcBef>
                <a:spcPts val="667"/>
              </a:spcBef>
              <a:spcAft>
                <a:spcPts val="0"/>
              </a:spcAft>
              <a:buSzPts val="1400"/>
              <a:buNone/>
              <a:defRPr sz="1800" b="0" i="0" u="none" strike="noStrike" cap="none">
                <a:solidFill>
                  <a:schemeClr val="lt2"/>
                </a:solidFill>
                <a:latin typeface="Arial"/>
                <a:ea typeface="Arial"/>
                <a:cs typeface="Arial"/>
                <a:sym typeface="Arial"/>
              </a:defRPr>
            </a:lvl9pPr>
          </a:lstStyle>
          <a:p>
            <a:endParaRPr/>
          </a:p>
        </p:txBody>
      </p:sp>
      <p:sp>
        <p:nvSpPr>
          <p:cNvPr id="28" name="Shape 28"/>
          <p:cNvSpPr txBox="1">
            <a:spLocks noGrp="1"/>
          </p:cNvSpPr>
          <p:nvPr>
            <p:ph type="title"/>
          </p:nvPr>
        </p:nvSpPr>
        <p:spPr>
          <a:xfrm>
            <a:off x="1689431" y="504150"/>
            <a:ext cx="10188951" cy="571321"/>
          </a:xfrm>
          <a:prstGeom prst="rect">
            <a:avLst/>
          </a:prstGeom>
          <a:noFill/>
          <a:ln>
            <a:noFill/>
          </a:ln>
        </p:spPr>
        <p:txBody>
          <a:bodyPr spcFirstLastPara="1" wrap="square" lIns="91425" tIns="91425" rIns="91425" bIns="91425" anchor="b" anchorCtr="0"/>
          <a:lstStyle>
            <a:lvl1pPr marR="0" lvl="0" algn="l" rtl="0">
              <a:lnSpc>
                <a:spcPct val="111764"/>
              </a:lnSpc>
              <a:spcBef>
                <a:spcPts val="0"/>
              </a:spcBef>
              <a:spcAft>
                <a:spcPts val="0"/>
              </a:spcAft>
              <a:buSzPts val="1400"/>
              <a:buNone/>
              <a:defRPr sz="3400" b="0" i="0" u="none" strike="noStrike" cap="none">
                <a:solidFill>
                  <a:schemeClr val="lt2"/>
                </a:solidFill>
                <a:latin typeface="Arial"/>
                <a:ea typeface="Arial"/>
                <a:cs typeface="Arial"/>
                <a:sym typeface="Arial"/>
              </a:defRPr>
            </a:lvl1pPr>
            <a:lvl2pPr marR="0" lvl="1"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2pPr>
            <a:lvl3pPr marR="0" lvl="2"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3pPr>
            <a:lvl4pPr marR="0" lvl="3"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4pPr>
            <a:lvl5pPr marR="0" lvl="4"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5pPr>
            <a:lvl6pPr marR="0" lvl="5"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6pPr>
            <a:lvl7pPr marR="0" lvl="6"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7pPr>
            <a:lvl8pPr marR="0" lvl="7"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8pPr>
            <a:lvl9pPr marR="0" lvl="8"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1182055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chlussfolie 2 Namen">
  <p:cSld name="1_Schlussfolie 2 Namen">
    <p:spTree>
      <p:nvGrpSpPr>
        <p:cNvPr id="1" name="Shape 62"/>
        <p:cNvGrpSpPr/>
        <p:nvPr/>
      </p:nvGrpSpPr>
      <p:grpSpPr>
        <a:xfrm>
          <a:off x="0" y="0"/>
          <a:ext cx="0" cy="0"/>
          <a:chOff x="0" y="0"/>
          <a:chExt cx="0" cy="0"/>
        </a:xfrm>
      </p:grpSpPr>
      <p:sp>
        <p:nvSpPr>
          <p:cNvPr id="63" name="Shape 63"/>
          <p:cNvSpPr/>
          <p:nvPr/>
        </p:nvSpPr>
        <p:spPr>
          <a:xfrm>
            <a:off x="0" y="0"/>
            <a:ext cx="12192000" cy="2804584"/>
          </a:xfrm>
          <a:prstGeom prst="rect">
            <a:avLst/>
          </a:prstGeom>
          <a:solidFill>
            <a:schemeClr val="accent1"/>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a:solidFill>
                <a:schemeClr val="lt1"/>
              </a:solidFill>
              <a:latin typeface="Arial"/>
              <a:ea typeface="Arial"/>
              <a:cs typeface="Arial"/>
              <a:sym typeface="Arial"/>
            </a:endParaRPr>
          </a:p>
        </p:txBody>
      </p:sp>
      <p:sp>
        <p:nvSpPr>
          <p:cNvPr id="64" name="Shape 64"/>
          <p:cNvSpPr txBox="1">
            <a:spLocks noGrp="1"/>
          </p:cNvSpPr>
          <p:nvPr>
            <p:ph type="title"/>
          </p:nvPr>
        </p:nvSpPr>
        <p:spPr>
          <a:xfrm>
            <a:off x="2832690" y="3177802"/>
            <a:ext cx="4478476" cy="680912"/>
          </a:xfrm>
          <a:prstGeom prst="rect">
            <a:avLst/>
          </a:prstGeom>
          <a:noFill/>
          <a:ln>
            <a:noFill/>
          </a:ln>
        </p:spPr>
        <p:txBody>
          <a:bodyPr spcFirstLastPara="1" wrap="square" lIns="91425" tIns="91425" rIns="91425" bIns="91425" anchor="b" anchorCtr="0"/>
          <a:lstStyle>
            <a:lvl1pPr marR="0" lvl="0" algn="l" rtl="0">
              <a:lnSpc>
                <a:spcPct val="211111"/>
              </a:lnSpc>
              <a:spcBef>
                <a:spcPts val="0"/>
              </a:spcBef>
              <a:spcAft>
                <a:spcPts val="0"/>
              </a:spcAft>
              <a:buSzPts val="1400"/>
              <a:buNone/>
              <a:defRPr sz="1800" b="0" i="0" u="none" strike="noStrike" cap="none">
                <a:solidFill>
                  <a:schemeClr val="accent2"/>
                </a:solidFill>
                <a:latin typeface="Arial"/>
                <a:ea typeface="Arial"/>
                <a:cs typeface="Arial"/>
                <a:sym typeface="Arial"/>
              </a:defRPr>
            </a:lvl1pPr>
            <a:lvl2pPr marR="0" lvl="1"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2pPr>
            <a:lvl3pPr marR="0" lvl="2"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3pPr>
            <a:lvl4pPr marR="0" lvl="3"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4pPr>
            <a:lvl5pPr marR="0" lvl="4"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5pPr>
            <a:lvl6pPr marR="0" lvl="5"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6pPr>
            <a:lvl7pPr marR="0" lvl="6"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7pPr>
            <a:lvl8pPr marR="0" lvl="7"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8pPr>
            <a:lvl9pPr marR="0" lvl="8" algn="l" rtl="0">
              <a:spcBef>
                <a:spcPts val="0"/>
              </a:spcBef>
              <a:spcAft>
                <a:spcPts val="0"/>
              </a:spcAft>
              <a:buSzPts val="1400"/>
              <a:buNone/>
              <a:defRPr sz="3466" b="0" i="0" u="none" strike="noStrike" cap="none">
                <a:solidFill>
                  <a:schemeClr val="dk1"/>
                </a:solidFill>
                <a:latin typeface="Quattrocento Sans"/>
                <a:ea typeface="Quattrocento Sans"/>
                <a:cs typeface="Quattrocento Sans"/>
                <a:sym typeface="Quattrocento Sans"/>
              </a:defRPr>
            </a:lvl9pPr>
          </a:lstStyle>
          <a:p>
            <a:endParaRPr/>
          </a:p>
        </p:txBody>
      </p:sp>
      <p:sp>
        <p:nvSpPr>
          <p:cNvPr id="65" name="Shape 65"/>
          <p:cNvSpPr txBox="1">
            <a:spLocks noGrp="1"/>
          </p:cNvSpPr>
          <p:nvPr>
            <p:ph type="body" idx="1"/>
          </p:nvPr>
        </p:nvSpPr>
        <p:spPr>
          <a:xfrm>
            <a:off x="7414681" y="3175532"/>
            <a:ext cx="4464526" cy="1090120"/>
          </a:xfrm>
          <a:prstGeom prst="rect">
            <a:avLst/>
          </a:prstGeom>
          <a:noFill/>
          <a:ln>
            <a:noFill/>
          </a:ln>
        </p:spPr>
        <p:txBody>
          <a:bodyPr spcFirstLastPara="1" wrap="square" lIns="91425" tIns="91425" rIns="91425" bIns="91425" anchor="t" anchorCtr="0"/>
          <a:lstStyle>
            <a:lvl1pPr marL="457200" marR="0" lvl="0" indent="-228600" algn="l" rtl="0">
              <a:spcBef>
                <a:spcPts val="667"/>
              </a:spcBef>
              <a:spcAft>
                <a:spcPts val="0"/>
              </a:spcAft>
              <a:buClr>
                <a:schemeClr val="lt2"/>
              </a:buClr>
              <a:buSzPts val="1800"/>
              <a:buFont typeface="Arial"/>
              <a:buNone/>
              <a:defRPr sz="1800" b="0" i="0" u="none" strike="noStrike" cap="none">
                <a:solidFill>
                  <a:schemeClr val="lt2"/>
                </a:solidFill>
                <a:latin typeface="Arial"/>
                <a:ea typeface="Arial"/>
                <a:cs typeface="Arial"/>
                <a:sym typeface="Arial"/>
              </a:defRPr>
            </a:lvl1pPr>
            <a:lvl2pPr marL="914400" marR="0" lvl="1" indent="-342900" algn="l" rtl="0">
              <a:spcBef>
                <a:spcPts val="667"/>
              </a:spcBef>
              <a:spcAft>
                <a:spcPts val="0"/>
              </a:spcAft>
              <a:buClr>
                <a:schemeClr val="accent1"/>
              </a:buClr>
              <a:buSzPts val="1800"/>
              <a:buFont typeface="Arial"/>
              <a:buChar char="•"/>
              <a:defRPr sz="1800" b="0" i="0" u="none" strike="noStrike" cap="none">
                <a:solidFill>
                  <a:schemeClr val="lt2"/>
                </a:solidFill>
                <a:latin typeface="Arial"/>
                <a:ea typeface="Arial"/>
                <a:cs typeface="Arial"/>
                <a:sym typeface="Arial"/>
              </a:defRPr>
            </a:lvl2pPr>
            <a:lvl3pPr marL="1371600" marR="0" lvl="2" indent="-342900" algn="l" rtl="0">
              <a:spcBef>
                <a:spcPts val="667"/>
              </a:spcBef>
              <a:spcAft>
                <a:spcPts val="0"/>
              </a:spcAft>
              <a:buClr>
                <a:schemeClr val="accent1"/>
              </a:buClr>
              <a:buSzPts val="1800"/>
              <a:buFont typeface="Courier New"/>
              <a:buChar char="o"/>
              <a:defRPr sz="1800" b="0" i="0" u="none" strike="noStrike" cap="none">
                <a:solidFill>
                  <a:schemeClr val="lt2"/>
                </a:solidFill>
                <a:latin typeface="Arial"/>
                <a:ea typeface="Arial"/>
                <a:cs typeface="Arial"/>
                <a:sym typeface="Arial"/>
              </a:defRPr>
            </a:lvl3pPr>
            <a:lvl4pPr marL="1828800" marR="0" lvl="3" indent="-317500" algn="l" rtl="0">
              <a:spcBef>
                <a:spcPts val="333"/>
              </a:spcBef>
              <a:spcAft>
                <a:spcPts val="0"/>
              </a:spcAft>
              <a:buClr>
                <a:schemeClr val="accent1"/>
              </a:buClr>
              <a:buSzPts val="1400"/>
              <a:buFont typeface="Arial"/>
              <a:buChar char="−"/>
              <a:defRPr sz="1400" b="0" i="0" u="none" strike="noStrike" cap="none">
                <a:solidFill>
                  <a:schemeClr val="lt2"/>
                </a:solidFill>
                <a:latin typeface="Arial"/>
                <a:ea typeface="Arial"/>
                <a:cs typeface="Arial"/>
                <a:sym typeface="Arial"/>
              </a:defRPr>
            </a:lvl4pPr>
            <a:lvl5pPr marL="2286000" marR="0" lvl="4"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5pPr>
            <a:lvl6pPr marL="2743200" marR="0" lvl="5"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6pPr>
            <a:lvl7pPr marL="3200400" marR="0" lvl="6" indent="-317500" algn="l" rtl="0">
              <a:spcBef>
                <a:spcPts val="333"/>
              </a:spcBef>
              <a:spcAft>
                <a:spcPts val="0"/>
              </a:spcAft>
              <a:buClr>
                <a:schemeClr val="accent1"/>
              </a:buClr>
              <a:buSzPts val="1400"/>
              <a:buFont typeface="Arial"/>
              <a:buAutoNum type="arabicPeriod"/>
              <a:defRPr sz="1400" b="0" i="0" u="none" strike="noStrike" cap="none">
                <a:solidFill>
                  <a:schemeClr val="lt2"/>
                </a:solidFill>
                <a:latin typeface="Arial"/>
                <a:ea typeface="Arial"/>
                <a:cs typeface="Arial"/>
                <a:sym typeface="Arial"/>
              </a:defRPr>
            </a:lvl7pPr>
            <a:lvl8pPr marL="3657600" marR="0" lvl="7" indent="-228600" algn="l" rtl="0">
              <a:spcBef>
                <a:spcPts val="667"/>
              </a:spcBef>
              <a:spcAft>
                <a:spcPts val="0"/>
              </a:spcAft>
              <a:buClr>
                <a:srgbClr val="C00000"/>
              </a:buClr>
              <a:buSzPts val="1800"/>
              <a:buFont typeface="Arial"/>
              <a:buNone/>
              <a:defRPr sz="1800" b="0" i="0" u="none" strike="noStrike" cap="none">
                <a:solidFill>
                  <a:schemeClr val="lt2"/>
                </a:solidFill>
                <a:latin typeface="Arial"/>
                <a:ea typeface="Arial"/>
                <a:cs typeface="Arial"/>
                <a:sym typeface="Arial"/>
              </a:defRPr>
            </a:lvl8pPr>
            <a:lvl9pPr marL="4114800" marR="0" lvl="8" indent="-228600" algn="l" rtl="0">
              <a:spcBef>
                <a:spcPts val="667"/>
              </a:spcBef>
              <a:spcAft>
                <a:spcPts val="0"/>
              </a:spcAft>
              <a:buSzPts val="1400"/>
              <a:buNone/>
              <a:defRPr sz="1800" b="0" i="0" u="none" strike="noStrike" cap="none">
                <a:solidFill>
                  <a:schemeClr val="lt2"/>
                </a:solidFill>
                <a:latin typeface="Arial"/>
                <a:ea typeface="Arial"/>
                <a:cs typeface="Arial"/>
                <a:sym typeface="Arial"/>
              </a:defRPr>
            </a:lvl9pPr>
          </a:lstStyle>
          <a:p>
            <a:endParaRPr/>
          </a:p>
        </p:txBody>
      </p:sp>
      <p:sp>
        <p:nvSpPr>
          <p:cNvPr id="66" name="Shape 66"/>
          <p:cNvSpPr txBox="1">
            <a:spLocks noGrp="1"/>
          </p:cNvSpPr>
          <p:nvPr>
            <p:ph type="body" idx="2"/>
          </p:nvPr>
        </p:nvSpPr>
        <p:spPr>
          <a:xfrm>
            <a:off x="7424163" y="4618805"/>
            <a:ext cx="4454217" cy="1412487"/>
          </a:xfrm>
          <a:prstGeom prst="rect">
            <a:avLst/>
          </a:prstGeom>
          <a:noFill/>
          <a:ln>
            <a:noFill/>
          </a:ln>
        </p:spPr>
        <p:txBody>
          <a:bodyPr spcFirstLastPara="1" wrap="square" lIns="91425" tIns="91425" rIns="91425" bIns="91425" anchor="t" anchorCtr="0"/>
          <a:lstStyle>
            <a:lvl1pPr marL="457200" marR="0" lvl="0" indent="-228600" algn="l" rtl="0">
              <a:spcBef>
                <a:spcPts val="667"/>
              </a:spcBef>
              <a:spcAft>
                <a:spcPts val="0"/>
              </a:spcAft>
              <a:buClr>
                <a:schemeClr val="lt2"/>
              </a:buClr>
              <a:buSzPts val="1800"/>
              <a:buFont typeface="Arial"/>
              <a:buNone/>
              <a:defRPr sz="1800" b="0" i="0" u="none" strike="noStrike" cap="none">
                <a:solidFill>
                  <a:schemeClr val="lt2"/>
                </a:solidFill>
                <a:latin typeface="Arial"/>
                <a:ea typeface="Arial"/>
                <a:cs typeface="Arial"/>
                <a:sym typeface="Arial"/>
              </a:defRPr>
            </a:lvl1pPr>
            <a:lvl2pPr marL="914400" marR="0" lvl="1" indent="-342900" algn="l" rtl="0">
              <a:spcBef>
                <a:spcPts val="667"/>
              </a:spcBef>
              <a:spcAft>
                <a:spcPts val="0"/>
              </a:spcAft>
              <a:buClr>
                <a:schemeClr val="accent1"/>
              </a:buClr>
              <a:buSzPts val="1800"/>
              <a:buFont typeface="Arial"/>
              <a:buChar char="•"/>
              <a:defRPr sz="1800" b="0" i="0" u="none" strike="noStrike" cap="none">
                <a:solidFill>
                  <a:schemeClr val="lt2"/>
                </a:solidFill>
                <a:latin typeface="Arial"/>
                <a:ea typeface="Arial"/>
                <a:cs typeface="Arial"/>
                <a:sym typeface="Arial"/>
              </a:defRPr>
            </a:lvl2pPr>
            <a:lvl3pPr marL="1371600" marR="0" lvl="2" indent="-342900" algn="l" rtl="0">
              <a:spcBef>
                <a:spcPts val="667"/>
              </a:spcBef>
              <a:spcAft>
                <a:spcPts val="0"/>
              </a:spcAft>
              <a:buClr>
                <a:schemeClr val="accent1"/>
              </a:buClr>
              <a:buSzPts val="1800"/>
              <a:buFont typeface="Courier New"/>
              <a:buChar char="o"/>
              <a:defRPr sz="1800" b="0" i="0" u="none" strike="noStrike" cap="none">
                <a:solidFill>
                  <a:schemeClr val="lt2"/>
                </a:solidFill>
                <a:latin typeface="Arial"/>
                <a:ea typeface="Arial"/>
                <a:cs typeface="Arial"/>
                <a:sym typeface="Arial"/>
              </a:defRPr>
            </a:lvl3pPr>
            <a:lvl4pPr marL="1828800" marR="0" lvl="3" indent="-317500" algn="l" rtl="0">
              <a:spcBef>
                <a:spcPts val="333"/>
              </a:spcBef>
              <a:spcAft>
                <a:spcPts val="0"/>
              </a:spcAft>
              <a:buClr>
                <a:schemeClr val="accent1"/>
              </a:buClr>
              <a:buSzPts val="1400"/>
              <a:buFont typeface="Arial"/>
              <a:buChar char="−"/>
              <a:defRPr sz="1400" b="0" i="0" u="none" strike="noStrike" cap="none">
                <a:solidFill>
                  <a:schemeClr val="lt2"/>
                </a:solidFill>
                <a:latin typeface="Arial"/>
                <a:ea typeface="Arial"/>
                <a:cs typeface="Arial"/>
                <a:sym typeface="Arial"/>
              </a:defRPr>
            </a:lvl4pPr>
            <a:lvl5pPr marL="2286000" marR="0" lvl="4"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5pPr>
            <a:lvl6pPr marL="2743200" marR="0" lvl="5"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6pPr>
            <a:lvl7pPr marL="3200400" marR="0" lvl="6" indent="-317500" algn="l" rtl="0">
              <a:spcBef>
                <a:spcPts val="333"/>
              </a:spcBef>
              <a:spcAft>
                <a:spcPts val="0"/>
              </a:spcAft>
              <a:buClr>
                <a:schemeClr val="accent1"/>
              </a:buClr>
              <a:buSzPts val="1400"/>
              <a:buFont typeface="Arial"/>
              <a:buAutoNum type="arabicPeriod"/>
              <a:defRPr sz="1400" b="0" i="0" u="none" strike="noStrike" cap="none">
                <a:solidFill>
                  <a:schemeClr val="lt2"/>
                </a:solidFill>
                <a:latin typeface="Arial"/>
                <a:ea typeface="Arial"/>
                <a:cs typeface="Arial"/>
                <a:sym typeface="Arial"/>
              </a:defRPr>
            </a:lvl7pPr>
            <a:lvl8pPr marL="3657600" marR="0" lvl="7" indent="-228600" algn="l" rtl="0">
              <a:spcBef>
                <a:spcPts val="667"/>
              </a:spcBef>
              <a:spcAft>
                <a:spcPts val="0"/>
              </a:spcAft>
              <a:buClr>
                <a:srgbClr val="C00000"/>
              </a:buClr>
              <a:buSzPts val="1800"/>
              <a:buFont typeface="Arial"/>
              <a:buNone/>
              <a:defRPr sz="1800" b="0" i="0" u="none" strike="noStrike" cap="none">
                <a:solidFill>
                  <a:schemeClr val="lt2"/>
                </a:solidFill>
                <a:latin typeface="Arial"/>
                <a:ea typeface="Arial"/>
                <a:cs typeface="Arial"/>
                <a:sym typeface="Arial"/>
              </a:defRPr>
            </a:lvl8pPr>
            <a:lvl9pPr marL="4114800" marR="0" lvl="8" indent="-228600" algn="l" rtl="0">
              <a:spcBef>
                <a:spcPts val="667"/>
              </a:spcBef>
              <a:spcAft>
                <a:spcPts val="0"/>
              </a:spcAft>
              <a:buSzPts val="1400"/>
              <a:buNone/>
              <a:defRPr sz="1800" b="0" i="0" u="none" strike="noStrike" cap="none">
                <a:solidFill>
                  <a:schemeClr val="lt2"/>
                </a:solidFill>
                <a:latin typeface="Arial"/>
                <a:ea typeface="Arial"/>
                <a:cs typeface="Arial"/>
                <a:sym typeface="Arial"/>
              </a:defRPr>
            </a:lvl9pPr>
          </a:lstStyle>
          <a:p>
            <a:endParaRPr/>
          </a:p>
        </p:txBody>
      </p:sp>
      <p:sp>
        <p:nvSpPr>
          <p:cNvPr id="67" name="Shape 67"/>
          <p:cNvSpPr txBox="1">
            <a:spLocks noGrp="1"/>
          </p:cNvSpPr>
          <p:nvPr>
            <p:ph type="body" idx="3"/>
          </p:nvPr>
        </p:nvSpPr>
        <p:spPr>
          <a:xfrm>
            <a:off x="2832690" y="4635129"/>
            <a:ext cx="4478476" cy="1412487"/>
          </a:xfrm>
          <a:prstGeom prst="rect">
            <a:avLst/>
          </a:prstGeom>
          <a:noFill/>
          <a:ln>
            <a:noFill/>
          </a:ln>
        </p:spPr>
        <p:txBody>
          <a:bodyPr spcFirstLastPara="1" wrap="square" lIns="91425" tIns="91425" rIns="91425" bIns="91425" anchor="t" anchorCtr="0"/>
          <a:lstStyle>
            <a:lvl1pPr marL="457200" marR="0" lvl="0" indent="-228600" algn="l" rtl="0">
              <a:spcBef>
                <a:spcPts val="667"/>
              </a:spcBef>
              <a:spcAft>
                <a:spcPts val="0"/>
              </a:spcAft>
              <a:buClr>
                <a:schemeClr val="lt2"/>
              </a:buClr>
              <a:buSzPts val="1800"/>
              <a:buFont typeface="Arial"/>
              <a:buNone/>
              <a:defRPr sz="1800" b="0" i="0" u="none" strike="noStrike" cap="none">
                <a:solidFill>
                  <a:schemeClr val="lt2"/>
                </a:solidFill>
                <a:latin typeface="Arial"/>
                <a:ea typeface="Arial"/>
                <a:cs typeface="Arial"/>
                <a:sym typeface="Arial"/>
              </a:defRPr>
            </a:lvl1pPr>
            <a:lvl2pPr marL="914400" marR="0" lvl="1" indent="-342900" algn="l" rtl="0">
              <a:spcBef>
                <a:spcPts val="667"/>
              </a:spcBef>
              <a:spcAft>
                <a:spcPts val="0"/>
              </a:spcAft>
              <a:buClr>
                <a:schemeClr val="accent1"/>
              </a:buClr>
              <a:buSzPts val="1800"/>
              <a:buFont typeface="Arial"/>
              <a:buChar char="•"/>
              <a:defRPr sz="1800" b="0" i="0" u="none" strike="noStrike" cap="none">
                <a:solidFill>
                  <a:schemeClr val="lt2"/>
                </a:solidFill>
                <a:latin typeface="Arial"/>
                <a:ea typeface="Arial"/>
                <a:cs typeface="Arial"/>
                <a:sym typeface="Arial"/>
              </a:defRPr>
            </a:lvl2pPr>
            <a:lvl3pPr marL="1371600" marR="0" lvl="2" indent="-342900" algn="l" rtl="0">
              <a:spcBef>
                <a:spcPts val="667"/>
              </a:spcBef>
              <a:spcAft>
                <a:spcPts val="0"/>
              </a:spcAft>
              <a:buClr>
                <a:schemeClr val="accent1"/>
              </a:buClr>
              <a:buSzPts val="1800"/>
              <a:buFont typeface="Courier New"/>
              <a:buChar char="o"/>
              <a:defRPr sz="1800" b="0" i="0" u="none" strike="noStrike" cap="none">
                <a:solidFill>
                  <a:schemeClr val="lt2"/>
                </a:solidFill>
                <a:latin typeface="Arial"/>
                <a:ea typeface="Arial"/>
                <a:cs typeface="Arial"/>
                <a:sym typeface="Arial"/>
              </a:defRPr>
            </a:lvl3pPr>
            <a:lvl4pPr marL="1828800" marR="0" lvl="3" indent="-317500" algn="l" rtl="0">
              <a:spcBef>
                <a:spcPts val="333"/>
              </a:spcBef>
              <a:spcAft>
                <a:spcPts val="0"/>
              </a:spcAft>
              <a:buClr>
                <a:schemeClr val="accent1"/>
              </a:buClr>
              <a:buSzPts val="1400"/>
              <a:buFont typeface="Arial"/>
              <a:buChar char="−"/>
              <a:defRPr sz="1400" b="0" i="0" u="none" strike="noStrike" cap="none">
                <a:solidFill>
                  <a:schemeClr val="lt2"/>
                </a:solidFill>
                <a:latin typeface="Arial"/>
                <a:ea typeface="Arial"/>
                <a:cs typeface="Arial"/>
                <a:sym typeface="Arial"/>
              </a:defRPr>
            </a:lvl4pPr>
            <a:lvl5pPr marL="2286000" marR="0" lvl="4"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5pPr>
            <a:lvl6pPr marL="2743200" marR="0" lvl="5" indent="-342900" algn="l" rtl="0">
              <a:spcBef>
                <a:spcPts val="667"/>
              </a:spcBef>
              <a:spcAft>
                <a:spcPts val="0"/>
              </a:spcAft>
              <a:buClr>
                <a:schemeClr val="accent1"/>
              </a:buClr>
              <a:buSzPts val="1800"/>
              <a:buFont typeface="Arial"/>
              <a:buAutoNum type="arabicPeriod"/>
              <a:defRPr sz="1800" b="0" i="0" u="none" strike="noStrike" cap="none">
                <a:solidFill>
                  <a:schemeClr val="lt2"/>
                </a:solidFill>
                <a:latin typeface="Arial"/>
                <a:ea typeface="Arial"/>
                <a:cs typeface="Arial"/>
                <a:sym typeface="Arial"/>
              </a:defRPr>
            </a:lvl6pPr>
            <a:lvl7pPr marL="3200400" marR="0" lvl="6" indent="-317500" algn="l" rtl="0">
              <a:spcBef>
                <a:spcPts val="333"/>
              </a:spcBef>
              <a:spcAft>
                <a:spcPts val="0"/>
              </a:spcAft>
              <a:buClr>
                <a:schemeClr val="accent1"/>
              </a:buClr>
              <a:buSzPts val="1400"/>
              <a:buFont typeface="Arial"/>
              <a:buAutoNum type="arabicPeriod"/>
              <a:defRPr sz="1400" b="0" i="0" u="none" strike="noStrike" cap="none">
                <a:solidFill>
                  <a:schemeClr val="lt2"/>
                </a:solidFill>
                <a:latin typeface="Arial"/>
                <a:ea typeface="Arial"/>
                <a:cs typeface="Arial"/>
                <a:sym typeface="Arial"/>
              </a:defRPr>
            </a:lvl7pPr>
            <a:lvl8pPr marL="3657600" marR="0" lvl="7" indent="-228600" algn="l" rtl="0">
              <a:spcBef>
                <a:spcPts val="667"/>
              </a:spcBef>
              <a:spcAft>
                <a:spcPts val="0"/>
              </a:spcAft>
              <a:buClr>
                <a:srgbClr val="C00000"/>
              </a:buClr>
              <a:buSzPts val="1800"/>
              <a:buFont typeface="Arial"/>
              <a:buNone/>
              <a:defRPr sz="1800" b="0" i="0" u="none" strike="noStrike" cap="none">
                <a:solidFill>
                  <a:schemeClr val="lt2"/>
                </a:solidFill>
                <a:latin typeface="Arial"/>
                <a:ea typeface="Arial"/>
                <a:cs typeface="Arial"/>
                <a:sym typeface="Arial"/>
              </a:defRPr>
            </a:lvl8pPr>
            <a:lvl9pPr marL="4114800" marR="0" lvl="8" indent="-228600" algn="l" rtl="0">
              <a:spcBef>
                <a:spcPts val="667"/>
              </a:spcBef>
              <a:spcAft>
                <a:spcPts val="0"/>
              </a:spcAft>
              <a:buSzPts val="1400"/>
              <a:buNone/>
              <a:defRPr sz="1800" b="0" i="0" u="none" strike="noStrike" cap="none">
                <a:solidFill>
                  <a:schemeClr val="lt2"/>
                </a:solidFill>
                <a:latin typeface="Arial"/>
                <a:ea typeface="Arial"/>
                <a:cs typeface="Arial"/>
                <a:sym typeface="Arial"/>
              </a:defRPr>
            </a:lvl9pPr>
          </a:lstStyle>
          <a:p>
            <a:endParaRPr/>
          </a:p>
        </p:txBody>
      </p:sp>
      <p:sp>
        <p:nvSpPr>
          <p:cNvPr id="68" name="Shape 68"/>
          <p:cNvSpPr txBox="1"/>
          <p:nvPr/>
        </p:nvSpPr>
        <p:spPr>
          <a:xfrm>
            <a:off x="7311166" y="6970097"/>
            <a:ext cx="1833963" cy="239999"/>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de-DE" sz="800">
                <a:solidFill>
                  <a:schemeClr val="lt2"/>
                </a:solidFill>
                <a:latin typeface="Arial"/>
                <a:ea typeface="Arial"/>
                <a:cs typeface="Arial"/>
                <a:sym typeface="Arial"/>
              </a:rPr>
              <a:t>25.04.2018</a:t>
            </a:r>
            <a:endParaRPr sz="800">
              <a:solidFill>
                <a:schemeClr val="lt2"/>
              </a:solidFill>
              <a:latin typeface="Arial"/>
              <a:ea typeface="Arial"/>
              <a:cs typeface="Arial"/>
              <a:sym typeface="Arial"/>
            </a:endParaRPr>
          </a:p>
        </p:txBody>
      </p:sp>
      <p:sp>
        <p:nvSpPr>
          <p:cNvPr id="69" name="Shape 69"/>
          <p:cNvSpPr txBox="1">
            <a:spLocks noGrp="1"/>
          </p:cNvSpPr>
          <p:nvPr>
            <p:ph type="sldNum" idx="12"/>
          </p:nvPr>
        </p:nvSpPr>
        <p:spPr>
          <a:xfrm>
            <a:off x="11404703" y="6970098"/>
            <a:ext cx="480000" cy="240000"/>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800">
                <a:solidFill>
                  <a:srgbClr val="888888"/>
                </a:solidFill>
                <a:latin typeface="Arial"/>
                <a:ea typeface="Arial"/>
                <a:cs typeface="Arial"/>
                <a:sym typeface="Arial"/>
              </a:defRPr>
            </a:lvl1pPr>
            <a:lvl2pPr marL="0" marR="0" lvl="1" indent="0" algn="r" rtl="0">
              <a:spcBef>
                <a:spcPts val="0"/>
              </a:spcBef>
              <a:buNone/>
              <a:defRPr sz="800">
                <a:solidFill>
                  <a:srgbClr val="888888"/>
                </a:solidFill>
                <a:latin typeface="Arial"/>
                <a:ea typeface="Arial"/>
                <a:cs typeface="Arial"/>
                <a:sym typeface="Arial"/>
              </a:defRPr>
            </a:lvl2pPr>
            <a:lvl3pPr marL="0" marR="0" lvl="2" indent="0" algn="r" rtl="0">
              <a:spcBef>
                <a:spcPts val="0"/>
              </a:spcBef>
              <a:buNone/>
              <a:defRPr sz="800">
                <a:solidFill>
                  <a:srgbClr val="888888"/>
                </a:solidFill>
                <a:latin typeface="Arial"/>
                <a:ea typeface="Arial"/>
                <a:cs typeface="Arial"/>
                <a:sym typeface="Arial"/>
              </a:defRPr>
            </a:lvl3pPr>
            <a:lvl4pPr marL="0" marR="0" lvl="3" indent="0" algn="r" rtl="0">
              <a:spcBef>
                <a:spcPts val="0"/>
              </a:spcBef>
              <a:buNone/>
              <a:defRPr sz="800">
                <a:solidFill>
                  <a:srgbClr val="888888"/>
                </a:solidFill>
                <a:latin typeface="Arial"/>
                <a:ea typeface="Arial"/>
                <a:cs typeface="Arial"/>
                <a:sym typeface="Arial"/>
              </a:defRPr>
            </a:lvl4pPr>
            <a:lvl5pPr marL="0" marR="0" lvl="4" indent="0" algn="r" rtl="0">
              <a:spcBef>
                <a:spcPts val="0"/>
              </a:spcBef>
              <a:buNone/>
              <a:defRPr sz="800">
                <a:solidFill>
                  <a:srgbClr val="888888"/>
                </a:solidFill>
                <a:latin typeface="Arial"/>
                <a:ea typeface="Arial"/>
                <a:cs typeface="Arial"/>
                <a:sym typeface="Arial"/>
              </a:defRPr>
            </a:lvl5pPr>
            <a:lvl6pPr marL="0" marR="0" lvl="5" indent="0" algn="r" rtl="0">
              <a:spcBef>
                <a:spcPts val="0"/>
              </a:spcBef>
              <a:buNone/>
              <a:defRPr sz="800">
                <a:solidFill>
                  <a:srgbClr val="888888"/>
                </a:solidFill>
                <a:latin typeface="Arial"/>
                <a:ea typeface="Arial"/>
                <a:cs typeface="Arial"/>
                <a:sym typeface="Arial"/>
              </a:defRPr>
            </a:lvl6pPr>
            <a:lvl7pPr marL="0" marR="0" lvl="6" indent="0" algn="r" rtl="0">
              <a:spcBef>
                <a:spcPts val="0"/>
              </a:spcBef>
              <a:buNone/>
              <a:defRPr sz="800">
                <a:solidFill>
                  <a:srgbClr val="888888"/>
                </a:solidFill>
                <a:latin typeface="Arial"/>
                <a:ea typeface="Arial"/>
                <a:cs typeface="Arial"/>
                <a:sym typeface="Arial"/>
              </a:defRPr>
            </a:lvl7pPr>
            <a:lvl8pPr marL="0" marR="0" lvl="7" indent="0" algn="r" rtl="0">
              <a:spcBef>
                <a:spcPts val="0"/>
              </a:spcBef>
              <a:buNone/>
              <a:defRPr sz="800">
                <a:solidFill>
                  <a:srgbClr val="888888"/>
                </a:solidFill>
                <a:latin typeface="Arial"/>
                <a:ea typeface="Arial"/>
                <a:cs typeface="Arial"/>
                <a:sym typeface="Arial"/>
              </a:defRPr>
            </a:lvl8pPr>
            <a:lvl9pPr marL="0" marR="0" lvl="8" indent="0" algn="r" rtl="0">
              <a:spcBef>
                <a:spcPts val="0"/>
              </a:spcBef>
              <a:buNone/>
              <a:defRPr sz="800">
                <a:solidFill>
                  <a:srgbClr val="888888"/>
                </a:solidFill>
                <a:latin typeface="Arial"/>
                <a:ea typeface="Arial"/>
                <a:cs typeface="Arial"/>
                <a:sym typeface="Arial"/>
              </a:defRPr>
            </a:lvl9pPr>
          </a:lstStyle>
          <a:p>
            <a:pPr marL="0" lvl="0" indent="0">
              <a:spcBef>
                <a:spcPts val="0"/>
              </a:spcBef>
              <a:spcAft>
                <a:spcPts val="0"/>
              </a:spcAft>
              <a:buNone/>
            </a:pPr>
            <a:fld id="{00000000-1234-1234-1234-123412341234}" type="slidenum">
              <a:rPr lang="de-DE"/>
              <a:t>‹#›</a:t>
            </a:fld>
            <a:endParaRPr/>
          </a:p>
        </p:txBody>
      </p:sp>
      <p:sp>
        <p:nvSpPr>
          <p:cNvPr id="70" name="Shape 70"/>
          <p:cNvSpPr txBox="1"/>
          <p:nvPr/>
        </p:nvSpPr>
        <p:spPr>
          <a:xfrm>
            <a:off x="2731091" y="6970098"/>
            <a:ext cx="2326822" cy="23999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lt2"/>
              </a:buClr>
              <a:buSzPts val="800"/>
              <a:buFont typeface="Arial"/>
              <a:buNone/>
            </a:pPr>
            <a:r>
              <a:rPr lang="de-DE" sz="800">
                <a:solidFill>
                  <a:schemeClr val="lt2"/>
                </a:solidFill>
                <a:latin typeface="Arial"/>
                <a:ea typeface="Arial"/>
                <a:cs typeface="Arial"/>
                <a:sym typeface="Arial"/>
              </a:rPr>
              <a:t>bbv Software Services AG | www.bbv.ch</a:t>
            </a:r>
            <a:endParaRPr sz="800">
              <a:solidFill>
                <a:schemeClr val="lt2"/>
              </a:solidFill>
              <a:latin typeface="Arial"/>
              <a:ea typeface="Arial"/>
              <a:cs typeface="Arial"/>
              <a:sym typeface="Arial"/>
            </a:endParaRPr>
          </a:p>
        </p:txBody>
      </p:sp>
      <p:sp>
        <p:nvSpPr>
          <p:cNvPr id="71" name="Shape 71"/>
          <p:cNvSpPr txBox="1">
            <a:spLocks noGrp="1"/>
          </p:cNvSpPr>
          <p:nvPr>
            <p:ph type="ftr" idx="11"/>
          </p:nvPr>
        </p:nvSpPr>
        <p:spPr>
          <a:xfrm>
            <a:off x="4652302" y="6970097"/>
            <a:ext cx="1926140" cy="239999"/>
          </a:xfrm>
          <a:prstGeom prst="rect">
            <a:avLst/>
          </a:prstGeom>
          <a:noFill/>
          <a:ln>
            <a:noFill/>
          </a:ln>
        </p:spPr>
        <p:txBody>
          <a:bodyPr spcFirstLastPara="1" wrap="square" lIns="91425" tIns="91425" rIns="91425" bIns="91425" anchor="ctr" anchorCtr="0"/>
          <a:lstStyle>
            <a:lvl1pPr marR="0" lvl="0" algn="l" rtl="0">
              <a:spcBef>
                <a:spcPts val="0"/>
              </a:spcBef>
              <a:spcAft>
                <a:spcPts val="0"/>
              </a:spcAft>
              <a:buSzPts val="1400"/>
              <a:buNone/>
              <a:defRPr sz="800">
                <a:solidFill>
                  <a:schemeClr val="lt2"/>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pic>
        <p:nvPicPr>
          <p:cNvPr id="72" name="Shape 72"/>
          <p:cNvPicPr preferRelativeResize="0"/>
          <p:nvPr/>
        </p:nvPicPr>
        <p:blipFill rotWithShape="1">
          <a:blip r:embed="rId2">
            <a:alphaModFix/>
          </a:blip>
          <a:srcRect/>
          <a:stretch/>
        </p:blipFill>
        <p:spPr>
          <a:xfrm>
            <a:off x="313620" y="4949427"/>
            <a:ext cx="1115936" cy="628597"/>
          </a:xfrm>
          <a:prstGeom prst="rect">
            <a:avLst/>
          </a:prstGeom>
          <a:noFill/>
          <a:ln>
            <a:noFill/>
          </a:ln>
        </p:spPr>
      </p:pic>
      <p:pic>
        <p:nvPicPr>
          <p:cNvPr id="73" name="Shape 73"/>
          <p:cNvPicPr preferRelativeResize="0"/>
          <p:nvPr/>
        </p:nvPicPr>
        <p:blipFill rotWithShape="1">
          <a:blip r:embed="rId3">
            <a:alphaModFix/>
          </a:blip>
          <a:srcRect/>
          <a:stretch/>
        </p:blipFill>
        <p:spPr>
          <a:xfrm>
            <a:off x="2838000" y="1191473"/>
            <a:ext cx="6516000" cy="421638"/>
          </a:xfrm>
          <a:prstGeom prst="rect">
            <a:avLst/>
          </a:prstGeom>
          <a:noFill/>
          <a:ln>
            <a:noFill/>
          </a:ln>
        </p:spPr>
      </p:pic>
    </p:spTree>
    <p:extLst>
      <p:ext uri="{BB962C8B-B14F-4D97-AF65-F5344CB8AC3E}">
        <p14:creationId xmlns:p14="http://schemas.microsoft.com/office/powerpoint/2010/main" val="41822051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311897050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2052"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2122" y="1589"/>
                        <a:ext cx="2116" cy="1587"/>
                      </a:xfrm>
                      <a:prstGeom prst="rect">
                        <a:avLst/>
                      </a:prstGeom>
                    </p:spPr>
                  </p:pic>
                </p:oleObj>
              </mc:Fallback>
            </mc:AlternateContent>
          </a:graphicData>
        </a:graphic>
      </p:graphicFrame>
      <p:pic>
        <p:nvPicPr>
          <p:cNvPr id="28" name="Picture 46" descr="R:\6_Marketing\Werbeagentur_ibl\Daten-Lieferung Werbeagentur\Grafiken_Visual und Claim\HQ_AAG100_1500x1125px.jpg"/>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18089" b="18089"/>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9" name="Titel 1"/>
          <p:cNvSpPr>
            <a:spLocks noGrp="1"/>
          </p:cNvSpPr>
          <p:nvPr>
            <p:ph type="ctrTitle" hasCustomPrompt="1"/>
          </p:nvPr>
        </p:nvSpPr>
        <p:spPr>
          <a:xfrm>
            <a:off x="960967" y="2959802"/>
            <a:ext cx="5424696" cy="850465"/>
          </a:xfrm>
          <a:solidFill>
            <a:schemeClr val="accent6"/>
          </a:solidFill>
        </p:spPr>
        <p:txBody>
          <a:bodyPr wrap="none" lIns="143996" tIns="95998" rIns="143996" bIns="95998"/>
          <a:lstStyle>
            <a:lvl1pPr>
              <a:lnSpc>
                <a:spcPct val="100000"/>
              </a:lnSpc>
              <a:defRPr sz="4300">
                <a:solidFill>
                  <a:schemeClr val="bg1"/>
                </a:solidFill>
              </a:defRPr>
            </a:lvl1pPr>
          </a:lstStyle>
          <a:p>
            <a:r>
              <a:rPr lang="de-DE"/>
              <a:t>Titel der Präsentation</a:t>
            </a:r>
          </a:p>
        </p:txBody>
      </p:sp>
      <p:sp>
        <p:nvSpPr>
          <p:cNvPr id="49" name="Textplatzhalter 12"/>
          <p:cNvSpPr>
            <a:spLocks noGrp="1"/>
          </p:cNvSpPr>
          <p:nvPr>
            <p:ph type="body" sz="quarter" idx="11" hasCustomPrompt="1"/>
          </p:nvPr>
        </p:nvSpPr>
        <p:spPr>
          <a:xfrm>
            <a:off x="960967" y="3676784"/>
            <a:ext cx="3182117" cy="850465"/>
          </a:xfrm>
          <a:solidFill>
            <a:schemeClr val="accent6"/>
          </a:solidFill>
        </p:spPr>
        <p:txBody>
          <a:bodyPr wrap="none" lIns="143996" tIns="95998" rIns="143996" bIns="95998">
            <a:spAutoFit/>
          </a:bodyPr>
          <a:lstStyle>
            <a:lvl1pPr>
              <a:lnSpc>
                <a:spcPct val="100000"/>
              </a:lnSpc>
              <a:defRPr sz="4300" b="0">
                <a:solidFill>
                  <a:schemeClr val="bg1"/>
                </a:solidFill>
              </a:defRPr>
            </a:lvl1pPr>
          </a:lstStyle>
          <a:p>
            <a:pPr lvl="0"/>
            <a:r>
              <a:rPr lang="de-DE"/>
              <a:t>Zweite Zeile</a:t>
            </a:r>
          </a:p>
        </p:txBody>
      </p:sp>
      <p:sp>
        <p:nvSpPr>
          <p:cNvPr id="50" name="Textplatzhalter 14"/>
          <p:cNvSpPr>
            <a:spLocks noGrp="1"/>
          </p:cNvSpPr>
          <p:nvPr>
            <p:ph type="body" sz="quarter" idx="12" hasCustomPrompt="1"/>
          </p:nvPr>
        </p:nvSpPr>
        <p:spPr>
          <a:xfrm>
            <a:off x="960971" y="4393237"/>
            <a:ext cx="4654551" cy="369332"/>
          </a:xfrm>
        </p:spPr>
        <p:txBody>
          <a:bodyPr wrap="square">
            <a:spAutoFit/>
          </a:bodyPr>
          <a:lstStyle>
            <a:lvl1pPr>
              <a:lnSpc>
                <a:spcPct val="100000"/>
              </a:lnSpc>
              <a:defRPr b="0" baseline="0">
                <a:solidFill>
                  <a:schemeClr val="tx1"/>
                </a:solidFill>
              </a:defRPr>
            </a:lvl1pPr>
            <a:lvl2pPr>
              <a:defRPr b="0"/>
            </a:lvl2pPr>
          </a:lstStyle>
          <a:p>
            <a:pPr lvl="0"/>
            <a:r>
              <a:rPr lang="de-DE"/>
              <a:t>Untertitel der Präsentation</a:t>
            </a:r>
          </a:p>
        </p:txBody>
      </p:sp>
      <p:grpSp>
        <p:nvGrpSpPr>
          <p:cNvPr id="51" name="Gruppieren 50"/>
          <p:cNvGrpSpPr/>
          <p:nvPr userDrawn="1"/>
        </p:nvGrpSpPr>
        <p:grpSpPr>
          <a:xfrm>
            <a:off x="-482599" y="-311944"/>
            <a:ext cx="13068300" cy="7553327"/>
            <a:chOff x="-361950" y="-311945"/>
            <a:chExt cx="9801225" cy="7553326"/>
          </a:xfrm>
        </p:grpSpPr>
        <p:cxnSp>
          <p:nvCxnSpPr>
            <p:cNvPr id="52" name="Gerade Verbindung 51"/>
            <p:cNvCxnSpPr/>
            <p:nvPr userDrawn="1"/>
          </p:nvCxnSpPr>
          <p:spPr>
            <a:xfrm flipH="1">
              <a:off x="-361950" y="10080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flipH="1">
              <a:off x="-361950" y="162083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flipH="1">
              <a:off x="-361950" y="645318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flipH="1">
              <a:off x="9239250" y="10080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flipH="1">
              <a:off x="9239250" y="162083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flipH="1">
              <a:off x="9239250" y="645318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rot="16200000" flipH="1">
              <a:off x="620713"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rot="16200000" flipH="1">
              <a:off x="4111626"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16200000" flipH="1">
              <a:off x="4830763"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16200000" flipH="1">
              <a:off x="8323263"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6200000" flipH="1">
              <a:off x="8794751"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6200000" flipH="1">
              <a:off x="620713"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rot="16200000" flipH="1">
              <a:off x="4111626"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rot="16200000" flipH="1">
              <a:off x="4830763"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 name="Gerade Verbindung 65"/>
            <p:cNvCxnSpPr/>
            <p:nvPr userDrawn="1"/>
          </p:nvCxnSpPr>
          <p:spPr>
            <a:xfrm rot="16200000" flipH="1">
              <a:off x="8323263"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rot="16200000" flipH="1">
              <a:off x="8794751"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flipH="1">
              <a:off x="-361950" y="19859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a:xfrm flipH="1">
              <a:off x="9239250" y="19859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70" name="Picture 47" descr="R:\6_Marketing\Werbeagentur_ibl\Daten-Lieferung Werbeagentur\Grafiken_Visual und Claim\HQ_AAG100_Claim_positiv.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968" y="6324556"/>
            <a:ext cx="2070765" cy="144000"/>
          </a:xfrm>
          <a:prstGeom prst="rect">
            <a:avLst/>
          </a:prstGeom>
          <a:noFill/>
          <a:extLst>
            <a:ext uri="{909E8E84-426E-40DD-AFC4-6F175D3DCCD1}">
              <a14:hiddenFill xmlns:a14="http://schemas.microsoft.com/office/drawing/2010/main">
                <a:solidFill>
                  <a:srgbClr val="FFFFFF"/>
                </a:solidFill>
              </a14:hiddenFill>
            </a:ext>
          </a:extLst>
        </p:spPr>
      </p:pic>
      <p:pic>
        <p:nvPicPr>
          <p:cNvPr id="71" name="Grafik 7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118371" y="5733188"/>
            <a:ext cx="1741315" cy="720000"/>
          </a:xfrm>
          <a:prstGeom prst="rect">
            <a:avLst/>
          </a:prstGeom>
        </p:spPr>
      </p:pic>
    </p:spTree>
    <p:custDataLst>
      <p:tags r:id="rId2"/>
    </p:custDataLst>
    <p:extLst>
      <p:ext uri="{BB962C8B-B14F-4D97-AF65-F5344CB8AC3E}">
        <p14:creationId xmlns:p14="http://schemas.microsoft.com/office/powerpoint/2010/main" val="4229971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2189834985"/>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3076"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2122" y="1589"/>
                        <a:ext cx="2116"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9" name="Textplatzhalter 8"/>
          <p:cNvSpPr>
            <a:spLocks noGrp="1"/>
          </p:cNvSpPr>
          <p:nvPr>
            <p:ph type="body" sz="quarter" idx="10"/>
          </p:nvPr>
        </p:nvSpPr>
        <p:spPr>
          <a:xfrm>
            <a:off x="960967" y="1620839"/>
            <a:ext cx="10270067" cy="4832351"/>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p:txBody>
      </p:sp>
    </p:spTree>
    <p:custDataLst>
      <p:tags r:id="rId2"/>
    </p:custDataLst>
    <p:extLst>
      <p:ext uri="{BB962C8B-B14F-4D97-AF65-F5344CB8AC3E}">
        <p14:creationId xmlns:p14="http://schemas.microsoft.com/office/powerpoint/2010/main" val="4041128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Text und Highligh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9" name="Textplatzhalter 8"/>
          <p:cNvSpPr>
            <a:spLocks noGrp="1"/>
          </p:cNvSpPr>
          <p:nvPr>
            <p:ph type="body" sz="quarter" idx="10"/>
          </p:nvPr>
        </p:nvSpPr>
        <p:spPr>
          <a:xfrm>
            <a:off x="960967" y="1620837"/>
            <a:ext cx="10270067" cy="1282403"/>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p:txBody>
      </p:sp>
      <p:sp>
        <p:nvSpPr>
          <p:cNvPr id="4" name="Textplatzhalter 3"/>
          <p:cNvSpPr>
            <a:spLocks noGrp="1"/>
          </p:cNvSpPr>
          <p:nvPr>
            <p:ph type="body" sz="quarter" idx="12" hasCustomPrompt="1"/>
          </p:nvPr>
        </p:nvSpPr>
        <p:spPr>
          <a:xfrm>
            <a:off x="960971" y="4371976"/>
            <a:ext cx="2365740" cy="522171"/>
          </a:xfrm>
          <a:solidFill>
            <a:schemeClr val="accent6"/>
          </a:solidFill>
        </p:spPr>
        <p:txBody>
          <a:bodyPr wrap="none" lIns="143996" tIns="95998" rIns="143996" bIns="95998">
            <a:spAutoFit/>
          </a:bodyPr>
          <a:lstStyle>
            <a:lvl1pPr>
              <a:defRPr sz="2100" b="0" baseline="0">
                <a:solidFill>
                  <a:schemeClr val="bg1"/>
                </a:solidFill>
              </a:defRPr>
            </a:lvl1pPr>
          </a:lstStyle>
          <a:p>
            <a:pPr lvl="0"/>
            <a:r>
              <a:rPr lang="de-DE"/>
              <a:t>Text für Highlight</a:t>
            </a:r>
          </a:p>
        </p:txBody>
      </p:sp>
      <p:sp>
        <p:nvSpPr>
          <p:cNvPr id="6" name="Textplatzhalter 5"/>
          <p:cNvSpPr>
            <a:spLocks noGrp="1"/>
          </p:cNvSpPr>
          <p:nvPr>
            <p:ph type="body" sz="quarter" idx="13" hasCustomPrompt="1"/>
          </p:nvPr>
        </p:nvSpPr>
        <p:spPr>
          <a:xfrm>
            <a:off x="960967" y="4819651"/>
            <a:ext cx="2396091" cy="522171"/>
          </a:xfrm>
          <a:solidFill>
            <a:schemeClr val="accent6"/>
          </a:solidFill>
        </p:spPr>
        <p:txBody>
          <a:bodyPr wrap="none" lIns="143996" tIns="95998" rIns="143996" bIns="95998">
            <a:spAutoFit/>
          </a:bodyPr>
          <a:lstStyle>
            <a:lvl1pPr>
              <a:defRPr sz="2100" b="0" baseline="0">
                <a:solidFill>
                  <a:schemeClr val="bg1"/>
                </a:solidFill>
              </a:defRPr>
            </a:lvl1pPr>
          </a:lstStyle>
          <a:p>
            <a:pPr lvl="0"/>
            <a:r>
              <a:rPr lang="de-DE"/>
              <a:t>Highlight, 2. Zeile</a:t>
            </a:r>
          </a:p>
        </p:txBody>
      </p:sp>
    </p:spTree>
    <p:custDataLst>
      <p:tags r:id="rId1"/>
    </p:custDataLst>
    <p:extLst>
      <p:ext uri="{BB962C8B-B14F-4D97-AF65-F5344CB8AC3E}">
        <p14:creationId xmlns:p14="http://schemas.microsoft.com/office/powerpoint/2010/main" val="3806079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highlight, Text und Bild">
    <p:spTree>
      <p:nvGrpSpPr>
        <p:cNvPr id="1" name=""/>
        <p:cNvGrpSpPr/>
        <p:nvPr/>
      </p:nvGrpSpPr>
      <p:grpSpPr>
        <a:xfrm>
          <a:off x="0" y="0"/>
          <a:ext cx="0" cy="0"/>
          <a:chOff x="0" y="0"/>
          <a:chExt cx="0" cy="0"/>
        </a:xfrm>
      </p:grpSpPr>
      <p:sp>
        <p:nvSpPr>
          <p:cNvPr id="2" name="Titel 1"/>
          <p:cNvSpPr>
            <a:spLocks noGrp="1"/>
          </p:cNvSpPr>
          <p:nvPr>
            <p:ph type="title"/>
          </p:nvPr>
        </p:nvSpPr>
        <p:spPr>
          <a:xfrm>
            <a:off x="960968" y="1008065"/>
            <a:ext cx="10695115" cy="656591"/>
          </a:xfrm>
          <a:solidFill>
            <a:schemeClr val="accent6"/>
          </a:solidFill>
        </p:spPr>
        <p:txBody>
          <a:bodyPr wrap="none" lIns="143996" tIns="0" rIns="143996" bIns="0"/>
          <a:lstStyle>
            <a:lvl1pPr>
              <a:lnSpc>
                <a:spcPct val="100000"/>
              </a:lnSpc>
              <a:defRPr sz="4300">
                <a:solidFill>
                  <a:schemeClr val="bg1"/>
                </a:solidFill>
              </a:defRPr>
            </a:lvl1pPr>
          </a:lstStyle>
          <a:p>
            <a:r>
              <a:rPr lang="de-DE"/>
              <a:t>Titelmasterformat durch Klicken bearbeiten</a:t>
            </a:r>
          </a:p>
        </p:txBody>
      </p:sp>
      <p:sp>
        <p:nvSpPr>
          <p:cNvPr id="9" name="Textplatzhalter 8"/>
          <p:cNvSpPr>
            <a:spLocks noGrp="1"/>
          </p:cNvSpPr>
          <p:nvPr>
            <p:ph type="body" sz="quarter" idx="10" hasCustomPrompt="1"/>
          </p:nvPr>
        </p:nvSpPr>
        <p:spPr>
          <a:xfrm>
            <a:off x="960970" y="1620839"/>
            <a:ext cx="3174081" cy="656591"/>
          </a:xfrm>
          <a:solidFill>
            <a:schemeClr val="accent6"/>
          </a:solidFill>
        </p:spPr>
        <p:txBody>
          <a:bodyPr wrap="none" lIns="143996" tIns="0" rIns="143996" bIns="0">
            <a:spAutoFit/>
          </a:bodyPr>
          <a:lstStyle>
            <a:lvl1pPr>
              <a:lnSpc>
                <a:spcPct val="100000"/>
              </a:lnSpc>
              <a:defRPr sz="4300" b="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stStyle>
          <a:p>
            <a:pPr lvl="0"/>
            <a:r>
              <a:rPr lang="de-DE"/>
              <a:t>Titel 2. Zeile</a:t>
            </a:r>
          </a:p>
        </p:txBody>
      </p:sp>
      <p:sp>
        <p:nvSpPr>
          <p:cNvPr id="10" name="Bildplatzhalter 9"/>
          <p:cNvSpPr>
            <a:spLocks noGrp="1"/>
          </p:cNvSpPr>
          <p:nvPr>
            <p:ph type="pic" sz="quarter" idx="14"/>
          </p:nvPr>
        </p:nvSpPr>
        <p:spPr>
          <a:xfrm>
            <a:off x="6574367" y="1620839"/>
            <a:ext cx="4656667" cy="4832351"/>
          </a:xfrm>
          <a:noFill/>
        </p:spPr>
        <p:txBody>
          <a:bodyPr>
            <a:noAutofit/>
          </a:bodyPr>
          <a:lstStyle/>
          <a:p>
            <a:r>
              <a:rPr lang="de-DE"/>
              <a:t>Bild durch Klicken auf Symbol hinzufügen</a:t>
            </a:r>
          </a:p>
        </p:txBody>
      </p:sp>
      <p:sp>
        <p:nvSpPr>
          <p:cNvPr id="14" name="Textplatzhalter 13"/>
          <p:cNvSpPr>
            <a:spLocks noGrp="1"/>
          </p:cNvSpPr>
          <p:nvPr>
            <p:ph type="body" sz="quarter" idx="15"/>
          </p:nvPr>
        </p:nvSpPr>
        <p:spPr>
          <a:xfrm>
            <a:off x="960971" y="2362203"/>
            <a:ext cx="4654551" cy="276999"/>
          </a:xfrm>
        </p:spPr>
        <p:txBody>
          <a:bodyPr>
            <a:noAutofit/>
          </a:bodyPr>
          <a:lstStyle/>
          <a:p>
            <a:pPr lvl="0"/>
            <a:r>
              <a:rPr lang="de-DE"/>
              <a:t>Textmasterformat bearbeiten</a:t>
            </a:r>
          </a:p>
        </p:txBody>
      </p:sp>
    </p:spTree>
    <p:custDataLst>
      <p:tags r:id="rId1"/>
    </p:custDataLst>
    <p:extLst>
      <p:ext uri="{BB962C8B-B14F-4D97-AF65-F5344CB8AC3E}">
        <p14:creationId xmlns:p14="http://schemas.microsoft.com/office/powerpoint/2010/main" val="796616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p>
        </p:txBody>
      </p:sp>
      <p:sp>
        <p:nvSpPr>
          <p:cNvPr id="5" name="Textplatzhalter 4"/>
          <p:cNvSpPr>
            <a:spLocks noGrp="1"/>
          </p:cNvSpPr>
          <p:nvPr>
            <p:ph type="body" sz="quarter" idx="12"/>
          </p:nvPr>
        </p:nvSpPr>
        <p:spPr>
          <a:xfrm>
            <a:off x="960971" y="1620839"/>
            <a:ext cx="4654551" cy="4832351"/>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p:txBody>
      </p:sp>
      <p:sp>
        <p:nvSpPr>
          <p:cNvPr id="8" name="Bildplatzhalter 7"/>
          <p:cNvSpPr>
            <a:spLocks noGrp="1"/>
          </p:cNvSpPr>
          <p:nvPr>
            <p:ph type="pic" sz="quarter" idx="13"/>
          </p:nvPr>
        </p:nvSpPr>
        <p:spPr>
          <a:xfrm>
            <a:off x="6574367" y="1620839"/>
            <a:ext cx="4656667" cy="4832351"/>
          </a:xfrm>
        </p:spPr>
        <p:txBody>
          <a:bodyPr>
            <a:noAutofit/>
          </a:bodyPr>
          <a:lstStyle/>
          <a:p>
            <a:r>
              <a:rPr lang="de-DE"/>
              <a:t>Bild durch Klicken auf Symbol hinzufügen</a:t>
            </a:r>
          </a:p>
        </p:txBody>
      </p:sp>
      <p:sp>
        <p:nvSpPr>
          <p:cNvPr id="12" name="Textplatzhalter 10"/>
          <p:cNvSpPr>
            <a:spLocks noGrp="1"/>
          </p:cNvSpPr>
          <p:nvPr>
            <p:ph type="body" sz="quarter" idx="11" hasCustomPrompt="1"/>
          </p:nvPr>
        </p:nvSpPr>
        <p:spPr>
          <a:xfrm>
            <a:off x="960971" y="6504503"/>
            <a:ext cx="6449484" cy="123111"/>
          </a:xfrm>
        </p:spPr>
        <p:txBody>
          <a:bodyPr/>
          <a:lstStyle>
            <a:lvl1pPr>
              <a:lnSpc>
                <a:spcPct val="100000"/>
              </a:lnSpc>
              <a:defRPr sz="1100" b="0" spc="0" baseline="0">
                <a:solidFill>
                  <a:schemeClr val="tx1"/>
                </a:solidFill>
              </a:defRPr>
            </a:lvl1pPr>
          </a:lstStyle>
          <a:p>
            <a:pPr lvl="0"/>
            <a:r>
              <a:rPr lang="de-DE"/>
              <a:t>Quelle/Fußnote</a:t>
            </a:r>
          </a:p>
        </p:txBody>
      </p:sp>
    </p:spTree>
    <p:custDataLst>
      <p:tags r:id="rId1"/>
    </p:custDataLst>
    <p:extLst>
      <p:ext uri="{BB962C8B-B14F-4D97-AF65-F5344CB8AC3E}">
        <p14:creationId xmlns:p14="http://schemas.microsoft.com/office/powerpoint/2010/main" val="1540024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instiegsfolie nur Claim">
    <p:spTree>
      <p:nvGrpSpPr>
        <p:cNvPr id="1" name=""/>
        <p:cNvGrpSpPr/>
        <p:nvPr/>
      </p:nvGrpSpPr>
      <p:grpSpPr>
        <a:xfrm>
          <a:off x="0" y="0"/>
          <a:ext cx="0" cy="0"/>
          <a:chOff x="0" y="0"/>
          <a:chExt cx="0" cy="0"/>
        </a:xfrm>
      </p:grpSpPr>
      <p:sp>
        <p:nvSpPr>
          <p:cNvPr id="4" name="Rechteck 14">
            <a:extLst>
              <a:ext uri="{FF2B5EF4-FFF2-40B4-BE49-F238E27FC236}">
                <a16:creationId xmlns:a16="http://schemas.microsoft.com/office/drawing/2014/main" id="{3351DDB1-5605-474C-9CF3-A855A440AB49}"/>
              </a:ext>
            </a:extLst>
          </p:cNvPr>
          <p:cNvSpPr/>
          <p:nvPr userDrawn="1"/>
        </p:nvSpPr>
        <p:spPr>
          <a:xfrm>
            <a:off x="0" y="0"/>
            <a:ext cx="12191999" cy="2804584"/>
          </a:xfrm>
          <a:prstGeom prst="rect">
            <a:avLst/>
          </a:prstGeom>
          <a:solidFill>
            <a:schemeClr val="accent1"/>
          </a:solidFill>
        </p:spPr>
        <p:txBody>
          <a:bodyPr wrap="square" lIns="72000" tIns="252000" rIns="72000" bIns="72000" rtlCol="0" anchor="ctr">
            <a:noAutofit/>
          </a:bodyPr>
          <a:lstStyle/>
          <a:p>
            <a:pPr marL="0" lvl="0" indent="0" algn="ctr" defTabSz="609585" rtl="0" eaLnBrk="1" fontAlgn="base" latinLnBrk="0" hangingPunct="1">
              <a:spcBef>
                <a:spcPts val="667"/>
              </a:spcBef>
              <a:spcAft>
                <a:spcPct val="0"/>
              </a:spcAft>
              <a:buClr>
                <a:schemeClr val="bg2"/>
              </a:buClr>
              <a:buFontTx/>
              <a:buNone/>
            </a:pPr>
            <a:endParaRPr lang="de-CH" sz="4267" b="1" kern="1200" baseline="0">
              <a:solidFill>
                <a:schemeClr val="bg1"/>
              </a:solidFill>
              <a:latin typeface="Arial"/>
              <a:ea typeface="+mn-ea"/>
              <a:cs typeface="Arial"/>
            </a:endParaRPr>
          </a:p>
        </p:txBody>
      </p:sp>
      <p:pic>
        <p:nvPicPr>
          <p:cNvPr id="5" name="Picture 4">
            <a:extLst>
              <a:ext uri="{FF2B5EF4-FFF2-40B4-BE49-F238E27FC236}">
                <a16:creationId xmlns:a16="http://schemas.microsoft.com/office/drawing/2014/main" id="{6F93EE70-4BC0-4F4C-BDBB-2D977B090384}"/>
              </a:ext>
            </a:extLst>
          </p:cNvPr>
          <p:cNvPicPr>
            <a:picLocks noChangeAspect="1"/>
          </p:cNvPicPr>
          <p:nvPr userDrawn="1"/>
        </p:nvPicPr>
        <p:blipFill>
          <a:blip r:embed="rId2"/>
          <a:stretch>
            <a:fillRect/>
          </a:stretch>
        </p:blipFill>
        <p:spPr>
          <a:xfrm>
            <a:off x="2855999" y="1184536"/>
            <a:ext cx="6480000" cy="435512"/>
          </a:xfrm>
          <a:prstGeom prst="rect">
            <a:avLst/>
          </a:prstGeom>
        </p:spPr>
      </p:pic>
      <p:pic>
        <p:nvPicPr>
          <p:cNvPr id="6" name="Picture 5">
            <a:extLst>
              <a:ext uri="{FF2B5EF4-FFF2-40B4-BE49-F238E27FC236}">
                <a16:creationId xmlns:a16="http://schemas.microsoft.com/office/drawing/2014/main" id="{5D3B908D-5271-4D72-B82D-E538A808AA91}"/>
              </a:ext>
            </a:extLst>
          </p:cNvPr>
          <p:cNvPicPr>
            <a:picLocks noChangeAspect="1"/>
          </p:cNvPicPr>
          <p:nvPr userDrawn="1"/>
        </p:nvPicPr>
        <p:blipFill>
          <a:blip r:embed="rId3"/>
          <a:stretch>
            <a:fillRect/>
          </a:stretch>
        </p:blipFill>
        <p:spPr>
          <a:xfrm>
            <a:off x="4889999" y="4296262"/>
            <a:ext cx="2412000" cy="1070062"/>
          </a:xfrm>
          <a:prstGeom prst="rect">
            <a:avLst/>
          </a:prstGeom>
        </p:spPr>
      </p:pic>
    </p:spTree>
    <p:extLst>
      <p:ext uri="{BB962C8B-B14F-4D97-AF65-F5344CB8AC3E}">
        <p14:creationId xmlns:p14="http://schemas.microsoft.com/office/powerpoint/2010/main" val="2310712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6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Bildplatzhalter 3"/>
          <p:cNvSpPr>
            <a:spLocks noGrp="1"/>
          </p:cNvSpPr>
          <p:nvPr>
            <p:ph type="pic" sz="quarter" idx="12"/>
          </p:nvPr>
        </p:nvSpPr>
        <p:spPr>
          <a:xfrm>
            <a:off x="960972" y="1620839"/>
            <a:ext cx="3204633" cy="1512887"/>
          </a:xfrm>
          <a:noFill/>
        </p:spPr>
        <p:txBody>
          <a:bodyPr>
            <a:noAutofit/>
          </a:bodyPr>
          <a:lstStyle/>
          <a:p>
            <a:r>
              <a:rPr lang="de-DE"/>
              <a:t>Bild durch Klicken auf Symbol hinzufügen</a:t>
            </a:r>
          </a:p>
        </p:txBody>
      </p:sp>
      <p:sp>
        <p:nvSpPr>
          <p:cNvPr id="7" name="Textplatzhalter 6"/>
          <p:cNvSpPr>
            <a:spLocks noGrp="1"/>
          </p:cNvSpPr>
          <p:nvPr>
            <p:ph type="body" sz="quarter" idx="13" hasCustomPrompt="1"/>
          </p:nvPr>
        </p:nvSpPr>
        <p:spPr>
          <a:xfrm>
            <a:off x="960972" y="3219451"/>
            <a:ext cx="3204633" cy="243656"/>
          </a:xfrm>
        </p:spPr>
        <p:txBody>
          <a:bodyPr/>
          <a:lstStyle>
            <a:lvl1pPr>
              <a:defRPr sz="2100" b="0">
                <a:solidFill>
                  <a:schemeClr val="tx1"/>
                </a:solidFill>
              </a:defRPr>
            </a:lvl1pPr>
          </a:lstStyle>
          <a:p>
            <a:pPr lvl="0"/>
            <a:r>
              <a:rPr lang="de-DE"/>
              <a:t>Bildunterschrift</a:t>
            </a:r>
          </a:p>
        </p:txBody>
      </p:sp>
      <p:sp>
        <p:nvSpPr>
          <p:cNvPr id="12" name="Bildplatzhalter 3"/>
          <p:cNvSpPr>
            <a:spLocks noGrp="1"/>
          </p:cNvSpPr>
          <p:nvPr>
            <p:ph type="pic" sz="quarter" idx="14"/>
          </p:nvPr>
        </p:nvSpPr>
        <p:spPr>
          <a:xfrm>
            <a:off x="4493688" y="1620839"/>
            <a:ext cx="3204633" cy="1512887"/>
          </a:xfrm>
          <a:noFill/>
        </p:spPr>
        <p:txBody>
          <a:bodyPr>
            <a:noAutofit/>
          </a:bodyPr>
          <a:lstStyle/>
          <a:p>
            <a:r>
              <a:rPr lang="de-DE"/>
              <a:t>Bild durch Klicken auf Symbol hinzufügen</a:t>
            </a:r>
          </a:p>
        </p:txBody>
      </p:sp>
      <p:sp>
        <p:nvSpPr>
          <p:cNvPr id="13" name="Textplatzhalter 6"/>
          <p:cNvSpPr>
            <a:spLocks noGrp="1"/>
          </p:cNvSpPr>
          <p:nvPr>
            <p:ph type="body" sz="quarter" idx="15" hasCustomPrompt="1"/>
          </p:nvPr>
        </p:nvSpPr>
        <p:spPr>
          <a:xfrm>
            <a:off x="4493688" y="3219451"/>
            <a:ext cx="3204633" cy="243656"/>
          </a:xfrm>
        </p:spPr>
        <p:txBody>
          <a:bodyPr/>
          <a:lstStyle>
            <a:lvl1pPr>
              <a:defRPr sz="2100" b="0">
                <a:solidFill>
                  <a:schemeClr val="tx1"/>
                </a:solidFill>
              </a:defRPr>
            </a:lvl1pPr>
          </a:lstStyle>
          <a:p>
            <a:pPr lvl="0"/>
            <a:r>
              <a:rPr lang="de-DE"/>
              <a:t>Bildunterschrift</a:t>
            </a:r>
          </a:p>
        </p:txBody>
      </p:sp>
      <p:sp>
        <p:nvSpPr>
          <p:cNvPr id="14" name="Bildplatzhalter 3"/>
          <p:cNvSpPr>
            <a:spLocks noGrp="1"/>
          </p:cNvSpPr>
          <p:nvPr>
            <p:ph type="pic" sz="quarter" idx="16"/>
          </p:nvPr>
        </p:nvSpPr>
        <p:spPr>
          <a:xfrm>
            <a:off x="8026404" y="1620839"/>
            <a:ext cx="3204633" cy="1512887"/>
          </a:xfrm>
          <a:noFill/>
        </p:spPr>
        <p:txBody>
          <a:bodyPr>
            <a:noAutofit/>
          </a:bodyPr>
          <a:lstStyle/>
          <a:p>
            <a:r>
              <a:rPr lang="de-DE"/>
              <a:t>Bild durch Klicken auf Symbol hinzufügen</a:t>
            </a:r>
          </a:p>
        </p:txBody>
      </p:sp>
      <p:sp>
        <p:nvSpPr>
          <p:cNvPr id="15" name="Textplatzhalter 6"/>
          <p:cNvSpPr>
            <a:spLocks noGrp="1"/>
          </p:cNvSpPr>
          <p:nvPr>
            <p:ph type="body" sz="quarter" idx="17" hasCustomPrompt="1"/>
          </p:nvPr>
        </p:nvSpPr>
        <p:spPr>
          <a:xfrm>
            <a:off x="8026404" y="3219451"/>
            <a:ext cx="3204633" cy="243656"/>
          </a:xfrm>
        </p:spPr>
        <p:txBody>
          <a:bodyPr/>
          <a:lstStyle>
            <a:lvl1pPr>
              <a:defRPr sz="2100" b="0">
                <a:solidFill>
                  <a:schemeClr val="tx1"/>
                </a:solidFill>
              </a:defRPr>
            </a:lvl1pPr>
          </a:lstStyle>
          <a:p>
            <a:pPr lvl="0"/>
            <a:r>
              <a:rPr lang="de-DE"/>
              <a:t>Bildunterschrift</a:t>
            </a:r>
          </a:p>
        </p:txBody>
      </p:sp>
      <p:sp>
        <p:nvSpPr>
          <p:cNvPr id="16" name="Bildplatzhalter 3"/>
          <p:cNvSpPr>
            <a:spLocks noGrp="1"/>
          </p:cNvSpPr>
          <p:nvPr>
            <p:ph type="pic" sz="quarter" idx="18"/>
          </p:nvPr>
        </p:nvSpPr>
        <p:spPr>
          <a:xfrm>
            <a:off x="960972" y="3811590"/>
            <a:ext cx="3204633" cy="1512887"/>
          </a:xfrm>
          <a:noFill/>
        </p:spPr>
        <p:txBody>
          <a:bodyPr>
            <a:noAutofit/>
          </a:bodyPr>
          <a:lstStyle/>
          <a:p>
            <a:r>
              <a:rPr lang="de-DE"/>
              <a:t>Bild durch Klicken auf Symbol hinzufügen</a:t>
            </a:r>
          </a:p>
        </p:txBody>
      </p:sp>
      <p:sp>
        <p:nvSpPr>
          <p:cNvPr id="17" name="Textplatzhalter 6"/>
          <p:cNvSpPr>
            <a:spLocks noGrp="1"/>
          </p:cNvSpPr>
          <p:nvPr>
            <p:ph type="body" sz="quarter" idx="19" hasCustomPrompt="1"/>
          </p:nvPr>
        </p:nvSpPr>
        <p:spPr>
          <a:xfrm>
            <a:off x="960972" y="5410200"/>
            <a:ext cx="3204633" cy="243656"/>
          </a:xfrm>
        </p:spPr>
        <p:txBody>
          <a:bodyPr/>
          <a:lstStyle>
            <a:lvl1pPr>
              <a:defRPr sz="2100" b="0">
                <a:solidFill>
                  <a:schemeClr val="tx1"/>
                </a:solidFill>
              </a:defRPr>
            </a:lvl1pPr>
          </a:lstStyle>
          <a:p>
            <a:pPr lvl="0"/>
            <a:r>
              <a:rPr lang="de-DE"/>
              <a:t>Bildunterschrift</a:t>
            </a:r>
          </a:p>
        </p:txBody>
      </p:sp>
      <p:sp>
        <p:nvSpPr>
          <p:cNvPr id="18" name="Bildplatzhalter 3"/>
          <p:cNvSpPr>
            <a:spLocks noGrp="1"/>
          </p:cNvSpPr>
          <p:nvPr>
            <p:ph type="pic" sz="quarter" idx="20"/>
          </p:nvPr>
        </p:nvSpPr>
        <p:spPr>
          <a:xfrm>
            <a:off x="4493688" y="3811590"/>
            <a:ext cx="3204633" cy="1512887"/>
          </a:xfrm>
          <a:noFill/>
        </p:spPr>
        <p:txBody>
          <a:bodyPr>
            <a:noAutofit/>
          </a:bodyPr>
          <a:lstStyle/>
          <a:p>
            <a:r>
              <a:rPr lang="de-DE"/>
              <a:t>Bild durch Klicken auf Symbol hinzufügen</a:t>
            </a:r>
          </a:p>
        </p:txBody>
      </p:sp>
      <p:sp>
        <p:nvSpPr>
          <p:cNvPr id="19" name="Textplatzhalter 6"/>
          <p:cNvSpPr>
            <a:spLocks noGrp="1"/>
          </p:cNvSpPr>
          <p:nvPr>
            <p:ph type="body" sz="quarter" idx="21" hasCustomPrompt="1"/>
          </p:nvPr>
        </p:nvSpPr>
        <p:spPr>
          <a:xfrm>
            <a:off x="4493688" y="5410200"/>
            <a:ext cx="3204633" cy="243656"/>
          </a:xfrm>
        </p:spPr>
        <p:txBody>
          <a:bodyPr/>
          <a:lstStyle>
            <a:lvl1pPr>
              <a:defRPr sz="2100" b="0">
                <a:solidFill>
                  <a:schemeClr val="tx1"/>
                </a:solidFill>
              </a:defRPr>
            </a:lvl1pPr>
          </a:lstStyle>
          <a:p>
            <a:pPr lvl="0"/>
            <a:r>
              <a:rPr lang="de-DE"/>
              <a:t>Bildunterschrift</a:t>
            </a:r>
          </a:p>
        </p:txBody>
      </p:sp>
      <p:sp>
        <p:nvSpPr>
          <p:cNvPr id="20" name="Bildplatzhalter 3"/>
          <p:cNvSpPr>
            <a:spLocks noGrp="1"/>
          </p:cNvSpPr>
          <p:nvPr>
            <p:ph type="pic" sz="quarter" idx="22"/>
          </p:nvPr>
        </p:nvSpPr>
        <p:spPr>
          <a:xfrm>
            <a:off x="8026404" y="3811590"/>
            <a:ext cx="3204633" cy="1512887"/>
          </a:xfrm>
          <a:noFill/>
        </p:spPr>
        <p:txBody>
          <a:bodyPr>
            <a:noAutofit/>
          </a:bodyPr>
          <a:lstStyle/>
          <a:p>
            <a:r>
              <a:rPr lang="de-DE"/>
              <a:t>Bild durch Klicken auf Symbol hinzufügen</a:t>
            </a:r>
          </a:p>
        </p:txBody>
      </p:sp>
      <p:sp>
        <p:nvSpPr>
          <p:cNvPr id="21" name="Textplatzhalter 6"/>
          <p:cNvSpPr>
            <a:spLocks noGrp="1"/>
          </p:cNvSpPr>
          <p:nvPr>
            <p:ph type="body" sz="quarter" idx="23" hasCustomPrompt="1"/>
          </p:nvPr>
        </p:nvSpPr>
        <p:spPr>
          <a:xfrm>
            <a:off x="8026404" y="5410200"/>
            <a:ext cx="3204633" cy="243656"/>
          </a:xfrm>
        </p:spPr>
        <p:txBody>
          <a:bodyPr/>
          <a:lstStyle>
            <a:lvl1pPr>
              <a:defRPr sz="2100" b="0">
                <a:solidFill>
                  <a:schemeClr val="tx1"/>
                </a:solidFill>
              </a:defRPr>
            </a:lvl1pPr>
          </a:lstStyle>
          <a:p>
            <a:pPr lvl="0"/>
            <a:r>
              <a:rPr lang="de-DE"/>
              <a:t>Bildunterschrift</a:t>
            </a:r>
          </a:p>
        </p:txBody>
      </p:sp>
    </p:spTree>
    <p:custDataLst>
      <p:tags r:id="rId1"/>
    </p:custDataLst>
    <p:extLst>
      <p:ext uri="{BB962C8B-B14F-4D97-AF65-F5344CB8AC3E}">
        <p14:creationId xmlns:p14="http://schemas.microsoft.com/office/powerpoint/2010/main" val="25491754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Text und 3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Bildplatzhalter 3"/>
          <p:cNvSpPr>
            <a:spLocks noGrp="1"/>
          </p:cNvSpPr>
          <p:nvPr>
            <p:ph type="pic" sz="quarter" idx="12"/>
          </p:nvPr>
        </p:nvSpPr>
        <p:spPr>
          <a:xfrm>
            <a:off x="960971" y="1620843"/>
            <a:ext cx="3076196" cy="1346647"/>
          </a:xfrm>
          <a:noFill/>
        </p:spPr>
        <p:txBody>
          <a:bodyPr>
            <a:noAutofit/>
          </a:bodyPr>
          <a:lstStyle/>
          <a:p>
            <a:r>
              <a:rPr lang="de-DE"/>
              <a:t>Bild durch Klicken auf Symbol hinzufügen</a:t>
            </a:r>
          </a:p>
        </p:txBody>
      </p:sp>
      <p:sp>
        <p:nvSpPr>
          <p:cNvPr id="5" name="Bildplatzhalter 4"/>
          <p:cNvSpPr>
            <a:spLocks noGrp="1"/>
          </p:cNvSpPr>
          <p:nvPr>
            <p:ph type="pic" sz="quarter" idx="13"/>
          </p:nvPr>
        </p:nvSpPr>
        <p:spPr>
          <a:xfrm>
            <a:off x="960971" y="3219490"/>
            <a:ext cx="3076196" cy="1346647"/>
          </a:xfrm>
          <a:noFill/>
        </p:spPr>
        <p:txBody>
          <a:bodyPr>
            <a:noAutofit/>
          </a:bodyPr>
          <a:lstStyle/>
          <a:p>
            <a:r>
              <a:rPr lang="de-DE"/>
              <a:t>Bild durch Klicken auf Symbol hinzufügen</a:t>
            </a:r>
          </a:p>
        </p:txBody>
      </p:sp>
      <p:sp>
        <p:nvSpPr>
          <p:cNvPr id="6" name="Bildplatzhalter 5"/>
          <p:cNvSpPr>
            <a:spLocks noGrp="1"/>
          </p:cNvSpPr>
          <p:nvPr>
            <p:ph type="pic" sz="quarter" idx="14"/>
          </p:nvPr>
        </p:nvSpPr>
        <p:spPr>
          <a:xfrm>
            <a:off x="960971" y="4818137"/>
            <a:ext cx="3076196" cy="1346647"/>
          </a:xfrm>
          <a:noFill/>
        </p:spPr>
        <p:txBody>
          <a:bodyPr>
            <a:noAutofit/>
          </a:bodyPr>
          <a:lstStyle/>
          <a:p>
            <a:r>
              <a:rPr lang="de-DE"/>
              <a:t>Bild durch Klicken auf Symbol hinzufügen</a:t>
            </a:r>
          </a:p>
        </p:txBody>
      </p:sp>
      <p:sp>
        <p:nvSpPr>
          <p:cNvPr id="9" name="Textplatzhalter 8"/>
          <p:cNvSpPr>
            <a:spLocks noGrp="1"/>
          </p:cNvSpPr>
          <p:nvPr>
            <p:ph type="body" sz="quarter" idx="15"/>
          </p:nvPr>
        </p:nvSpPr>
        <p:spPr>
          <a:xfrm>
            <a:off x="4997167" y="1620839"/>
            <a:ext cx="6233871" cy="4832351"/>
          </a:xfrm>
        </p:spPr>
        <p:txBody>
          <a:bodyPr wrap="square">
            <a:noAutofit/>
          </a:bodyPr>
          <a:lstStyle/>
          <a:p>
            <a:pPr lvl="0"/>
            <a:r>
              <a:rPr lang="de-DE"/>
              <a:t>Textmasterformat bearbeiten</a:t>
            </a:r>
          </a:p>
          <a:p>
            <a:pPr lvl="1"/>
            <a:r>
              <a:rPr lang="de-DE"/>
              <a:t>Zweite Ebene</a:t>
            </a:r>
          </a:p>
          <a:p>
            <a:pPr lvl="2"/>
            <a:r>
              <a:rPr lang="de-DE"/>
              <a:t>Dritte Ebene</a:t>
            </a:r>
          </a:p>
          <a:p>
            <a:pPr lvl="3"/>
            <a:r>
              <a:rPr lang="de-DE"/>
              <a:t>Vierte Ebene</a:t>
            </a:r>
          </a:p>
        </p:txBody>
      </p:sp>
    </p:spTree>
    <p:custDataLst>
      <p:tags r:id="rId1"/>
    </p:custDataLst>
    <p:extLst>
      <p:ext uri="{BB962C8B-B14F-4D97-AF65-F5344CB8AC3E}">
        <p14:creationId xmlns:p14="http://schemas.microsoft.com/office/powerpoint/2010/main" val="14370784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Text und 2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Bildplatzhalter 3"/>
          <p:cNvSpPr>
            <a:spLocks noGrp="1"/>
          </p:cNvSpPr>
          <p:nvPr>
            <p:ph type="pic" sz="quarter" idx="12"/>
          </p:nvPr>
        </p:nvSpPr>
        <p:spPr>
          <a:xfrm>
            <a:off x="960972" y="1620840"/>
            <a:ext cx="4180377" cy="1898739"/>
          </a:xfrm>
          <a:noFill/>
        </p:spPr>
        <p:txBody>
          <a:bodyPr>
            <a:noAutofit/>
          </a:bodyPr>
          <a:lstStyle/>
          <a:p>
            <a:r>
              <a:rPr lang="de-DE"/>
              <a:t>Bild durch Klicken auf Symbol hinzufügen</a:t>
            </a:r>
          </a:p>
        </p:txBody>
      </p:sp>
      <p:sp>
        <p:nvSpPr>
          <p:cNvPr id="5" name="Bildplatzhalter 4"/>
          <p:cNvSpPr>
            <a:spLocks noGrp="1"/>
          </p:cNvSpPr>
          <p:nvPr>
            <p:ph type="pic" sz="quarter" idx="13"/>
          </p:nvPr>
        </p:nvSpPr>
        <p:spPr>
          <a:xfrm>
            <a:off x="960972" y="3771577"/>
            <a:ext cx="4180377" cy="1898739"/>
          </a:xfrm>
          <a:noFill/>
        </p:spPr>
        <p:txBody>
          <a:bodyPr>
            <a:noAutofit/>
          </a:bodyPr>
          <a:lstStyle/>
          <a:p>
            <a:r>
              <a:rPr lang="de-DE"/>
              <a:t>Bild durch Klicken auf Symbol hinzufügen</a:t>
            </a:r>
          </a:p>
        </p:txBody>
      </p:sp>
      <p:sp>
        <p:nvSpPr>
          <p:cNvPr id="8" name="Textplatzhalter 7"/>
          <p:cNvSpPr>
            <a:spLocks noGrp="1"/>
          </p:cNvSpPr>
          <p:nvPr>
            <p:ph type="body" sz="quarter" idx="14"/>
          </p:nvPr>
        </p:nvSpPr>
        <p:spPr>
          <a:xfrm>
            <a:off x="6101349" y="1620839"/>
            <a:ext cx="5129689" cy="4832351"/>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p:txBody>
      </p:sp>
    </p:spTree>
    <p:custDataLst>
      <p:tags r:id="rId1"/>
    </p:custDataLst>
    <p:extLst>
      <p:ext uri="{BB962C8B-B14F-4D97-AF65-F5344CB8AC3E}">
        <p14:creationId xmlns:p14="http://schemas.microsoft.com/office/powerpoint/2010/main" val="5213502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Text und 1 Bild_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Bildplatzhalter 3"/>
          <p:cNvSpPr>
            <a:spLocks noGrp="1"/>
          </p:cNvSpPr>
          <p:nvPr>
            <p:ph type="pic" sz="quarter" idx="12"/>
          </p:nvPr>
        </p:nvSpPr>
        <p:spPr>
          <a:xfrm>
            <a:off x="960971" y="1620839"/>
            <a:ext cx="5146535" cy="2338687"/>
          </a:xfrm>
          <a:noFill/>
        </p:spPr>
        <p:txBody>
          <a:bodyPr>
            <a:noAutofit/>
          </a:bodyPr>
          <a:lstStyle/>
          <a:p>
            <a:r>
              <a:rPr lang="de-DE"/>
              <a:t>Bild durch Klicken auf Symbol hinzufügen</a:t>
            </a:r>
          </a:p>
        </p:txBody>
      </p:sp>
      <p:sp>
        <p:nvSpPr>
          <p:cNvPr id="6" name="Textplatzhalter 5"/>
          <p:cNvSpPr>
            <a:spLocks noGrp="1"/>
          </p:cNvSpPr>
          <p:nvPr>
            <p:ph type="body" sz="quarter" idx="13"/>
          </p:nvPr>
        </p:nvSpPr>
        <p:spPr>
          <a:xfrm>
            <a:off x="7067506" y="1620839"/>
            <a:ext cx="4163532" cy="4832351"/>
          </a:xfrm>
        </p:spPr>
        <p:txBody>
          <a:bodyPr wrap="square">
            <a:noAutofit/>
          </a:bodyPr>
          <a:lstStyle/>
          <a:p>
            <a:pPr lvl="0"/>
            <a:r>
              <a:rPr lang="de-DE"/>
              <a:t>Textmasterformat bearbeiten</a:t>
            </a:r>
          </a:p>
          <a:p>
            <a:pPr lvl="1"/>
            <a:r>
              <a:rPr lang="de-DE"/>
              <a:t>Zweite Ebene</a:t>
            </a:r>
          </a:p>
          <a:p>
            <a:pPr lvl="2"/>
            <a:r>
              <a:rPr lang="de-DE"/>
              <a:t>Dritte Ebene</a:t>
            </a:r>
          </a:p>
          <a:p>
            <a:pPr lvl="3"/>
            <a:r>
              <a:rPr lang="de-DE"/>
              <a:t>Vierte Ebene</a:t>
            </a:r>
          </a:p>
        </p:txBody>
      </p:sp>
    </p:spTree>
    <p:custDataLst>
      <p:tags r:id="rId1"/>
    </p:custDataLst>
    <p:extLst>
      <p:ext uri="{BB962C8B-B14F-4D97-AF65-F5344CB8AC3E}">
        <p14:creationId xmlns:p14="http://schemas.microsoft.com/office/powerpoint/2010/main" val="17162011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Text und 1 Bild_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Bildplatzhalter 3"/>
          <p:cNvSpPr>
            <a:spLocks noGrp="1"/>
          </p:cNvSpPr>
          <p:nvPr>
            <p:ph type="pic" sz="quarter" idx="12"/>
          </p:nvPr>
        </p:nvSpPr>
        <p:spPr>
          <a:xfrm>
            <a:off x="960971" y="1620839"/>
            <a:ext cx="6078188" cy="3753420"/>
          </a:xfrm>
          <a:noFill/>
        </p:spPr>
        <p:txBody>
          <a:bodyPr>
            <a:noAutofit/>
          </a:bodyPr>
          <a:lstStyle/>
          <a:p>
            <a:r>
              <a:rPr lang="de-DE"/>
              <a:t>Bild durch Klicken auf Symbol hinzufügen</a:t>
            </a:r>
          </a:p>
        </p:txBody>
      </p:sp>
      <p:sp>
        <p:nvSpPr>
          <p:cNvPr id="6" name="Textplatzhalter 5"/>
          <p:cNvSpPr>
            <a:spLocks noGrp="1"/>
          </p:cNvSpPr>
          <p:nvPr>
            <p:ph type="body" sz="quarter" idx="13"/>
          </p:nvPr>
        </p:nvSpPr>
        <p:spPr>
          <a:xfrm>
            <a:off x="7999159" y="1620839"/>
            <a:ext cx="3231879" cy="4832351"/>
          </a:xfrm>
        </p:spPr>
        <p:txBody>
          <a:bodyPr wrap="square">
            <a:noAutofit/>
          </a:bodyPr>
          <a:lstStyle/>
          <a:p>
            <a:pPr lvl="0"/>
            <a:r>
              <a:rPr lang="de-DE"/>
              <a:t>Textmasterformat bearbeiten</a:t>
            </a:r>
          </a:p>
          <a:p>
            <a:pPr lvl="1"/>
            <a:r>
              <a:rPr lang="de-DE"/>
              <a:t>Zweite Ebene</a:t>
            </a:r>
          </a:p>
          <a:p>
            <a:pPr lvl="2"/>
            <a:r>
              <a:rPr lang="de-DE"/>
              <a:t>Dritte Ebene</a:t>
            </a:r>
          </a:p>
          <a:p>
            <a:pPr lvl="3"/>
            <a:r>
              <a:rPr lang="de-DE"/>
              <a:t>Vierte Ebene</a:t>
            </a:r>
          </a:p>
        </p:txBody>
      </p:sp>
    </p:spTree>
    <p:custDataLst>
      <p:tags r:id="rId1"/>
    </p:custDataLst>
    <p:extLst>
      <p:ext uri="{BB962C8B-B14F-4D97-AF65-F5344CB8AC3E}">
        <p14:creationId xmlns:p14="http://schemas.microsoft.com/office/powerpoint/2010/main" val="18369415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3014831618"/>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4100"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2122" y="1589"/>
                        <a:ext cx="2116" cy="1587"/>
                      </a:xfrm>
                      <a:prstGeom prst="rect">
                        <a:avLst/>
                      </a:prstGeom>
                    </p:spPr>
                  </p:pic>
                </p:oleObj>
              </mc:Fallback>
            </mc:AlternateContent>
          </a:graphicData>
        </a:graphic>
      </p:graphicFrame>
      <p:sp>
        <p:nvSpPr>
          <p:cNvPr id="21" name="Bildplatzhalter 3"/>
          <p:cNvSpPr>
            <a:spLocks noGrp="1"/>
          </p:cNvSpPr>
          <p:nvPr>
            <p:ph type="pic" sz="quarter" idx="12"/>
          </p:nvPr>
        </p:nvSpPr>
        <p:spPr>
          <a:xfrm>
            <a:off x="0" y="576263"/>
            <a:ext cx="12192000" cy="6281737"/>
          </a:xfrm>
          <a:noFill/>
        </p:spPr>
        <p:txBody>
          <a:bodyPr/>
          <a:lstStyle/>
          <a:p>
            <a:r>
              <a:rPr lang="de-DE"/>
              <a:t>Bild durch Klicken auf Symbol hinzufügen</a:t>
            </a:r>
          </a:p>
        </p:txBody>
      </p:sp>
      <p:sp>
        <p:nvSpPr>
          <p:cNvPr id="5" name="Textplatzhalter 4"/>
          <p:cNvSpPr>
            <a:spLocks noGrp="1"/>
          </p:cNvSpPr>
          <p:nvPr>
            <p:ph type="body" sz="quarter" idx="13"/>
          </p:nvPr>
        </p:nvSpPr>
        <p:spPr>
          <a:xfrm>
            <a:off x="4237" y="1008061"/>
            <a:ext cx="5611284" cy="360851"/>
          </a:xfrm>
          <a:solidFill>
            <a:schemeClr val="tx1">
              <a:alpha val="48000"/>
            </a:schemeClr>
          </a:solidFill>
        </p:spPr>
        <p:txBody>
          <a:bodyPr lIns="959976" tIns="95998" rIns="143996" bIns="95998"/>
          <a:lstStyle>
            <a:lvl1pPr>
              <a:defRPr sz="1900" b="0">
                <a:solidFill>
                  <a:schemeClr val="bg1"/>
                </a:solidFill>
              </a:defRPr>
            </a:lvl1pPr>
          </a:lstStyle>
          <a:p>
            <a:pPr lvl="0"/>
            <a:r>
              <a:rPr lang="de-DE"/>
              <a:t>Textmasterformat bearbeiten</a:t>
            </a:r>
          </a:p>
        </p:txBody>
      </p:sp>
      <p:grpSp>
        <p:nvGrpSpPr>
          <p:cNvPr id="25" name="Gruppieren 24"/>
          <p:cNvGrpSpPr/>
          <p:nvPr userDrawn="1"/>
        </p:nvGrpSpPr>
        <p:grpSpPr>
          <a:xfrm>
            <a:off x="11231035" y="122515"/>
            <a:ext cx="626533" cy="258975"/>
            <a:chOff x="5810250" y="2559051"/>
            <a:chExt cx="3027363" cy="1668463"/>
          </a:xfrm>
          <a:solidFill>
            <a:schemeClr val="bg1"/>
          </a:solidFill>
        </p:grpSpPr>
        <p:sp>
          <p:nvSpPr>
            <p:cNvPr id="26" name="Freeform 23"/>
            <p:cNvSpPr>
              <a:spLocks noEditPoints="1"/>
            </p:cNvSpPr>
            <p:nvPr userDrawn="1"/>
          </p:nvSpPr>
          <p:spPr bwMode="auto">
            <a:xfrm>
              <a:off x="5810250" y="2559051"/>
              <a:ext cx="3027363" cy="1176338"/>
            </a:xfrm>
            <a:custGeom>
              <a:avLst/>
              <a:gdLst>
                <a:gd name="T0" fmla="*/ 2943 w 3815"/>
                <a:gd name="T1" fmla="*/ 240 h 1482"/>
                <a:gd name="T2" fmla="*/ 2963 w 3815"/>
                <a:gd name="T3" fmla="*/ 1274 h 1482"/>
                <a:gd name="T4" fmla="*/ 3042 w 3815"/>
                <a:gd name="T5" fmla="*/ 1262 h 1482"/>
                <a:gd name="T6" fmla="*/ 3042 w 3815"/>
                <a:gd name="T7" fmla="*/ 224 h 1482"/>
                <a:gd name="T8" fmla="*/ 1372 w 3815"/>
                <a:gd name="T9" fmla="*/ 199 h 1482"/>
                <a:gd name="T10" fmla="*/ 1334 w 3815"/>
                <a:gd name="T11" fmla="*/ 652 h 1482"/>
                <a:gd name="T12" fmla="*/ 1422 w 3815"/>
                <a:gd name="T13" fmla="*/ 207 h 1482"/>
                <a:gd name="T14" fmla="*/ 207 w 3815"/>
                <a:gd name="T15" fmla="*/ 207 h 1482"/>
                <a:gd name="T16" fmla="*/ 297 w 3815"/>
                <a:gd name="T17" fmla="*/ 651 h 1482"/>
                <a:gd name="T18" fmla="*/ 258 w 3815"/>
                <a:gd name="T19" fmla="*/ 199 h 1482"/>
                <a:gd name="T20" fmla="*/ 2477 w 3815"/>
                <a:gd name="T21" fmla="*/ 648 h 1482"/>
                <a:gd name="T22" fmla="*/ 2477 w 3815"/>
                <a:gd name="T23" fmla="*/ 842 h 1482"/>
                <a:gd name="T24" fmla="*/ 1677 w 3815"/>
                <a:gd name="T25" fmla="*/ 29 h 1482"/>
                <a:gd name="T26" fmla="*/ 1810 w 3815"/>
                <a:gd name="T27" fmla="*/ 1458 h 1482"/>
                <a:gd name="T28" fmla="*/ 856 w 3815"/>
                <a:gd name="T29" fmla="*/ 9 h 1482"/>
                <a:gd name="T30" fmla="*/ 1012 w 3815"/>
                <a:gd name="T31" fmla="*/ 109 h 1482"/>
                <a:gd name="T32" fmla="*/ 1059 w 3815"/>
                <a:gd name="T33" fmla="*/ 510 h 1482"/>
                <a:gd name="T34" fmla="*/ 848 w 3815"/>
                <a:gd name="T35" fmla="*/ 211 h 1482"/>
                <a:gd name="T36" fmla="*/ 771 w 3815"/>
                <a:gd name="T37" fmla="*/ 225 h 1482"/>
                <a:gd name="T38" fmla="*/ 771 w 3815"/>
                <a:gd name="T39" fmla="*/ 1262 h 1482"/>
                <a:gd name="T40" fmla="*/ 849 w 3815"/>
                <a:gd name="T41" fmla="*/ 1274 h 1482"/>
                <a:gd name="T42" fmla="*/ 804 w 3815"/>
                <a:gd name="T43" fmla="*/ 845 h 1482"/>
                <a:gd name="T44" fmla="*/ 1046 w 3815"/>
                <a:gd name="T45" fmla="*/ 1306 h 1482"/>
                <a:gd name="T46" fmla="*/ 928 w 3815"/>
                <a:gd name="T47" fmla="*/ 1453 h 1482"/>
                <a:gd name="T48" fmla="*/ 740 w 3815"/>
                <a:gd name="T49" fmla="*/ 1469 h 1482"/>
                <a:gd name="T50" fmla="*/ 601 w 3815"/>
                <a:gd name="T51" fmla="*/ 1343 h 1482"/>
                <a:gd name="T52" fmla="*/ 578 w 3815"/>
                <a:gd name="T53" fmla="*/ 220 h 1482"/>
                <a:gd name="T54" fmla="*/ 673 w 3815"/>
                <a:gd name="T55" fmla="*/ 54 h 1482"/>
                <a:gd name="T56" fmla="*/ 2998 w 3815"/>
                <a:gd name="T57" fmla="*/ 4 h 1482"/>
                <a:gd name="T58" fmla="*/ 3168 w 3815"/>
                <a:gd name="T59" fmla="*/ 79 h 1482"/>
                <a:gd name="T60" fmla="*/ 3239 w 3815"/>
                <a:gd name="T61" fmla="*/ 261 h 1482"/>
                <a:gd name="T62" fmla="*/ 3192 w 3815"/>
                <a:gd name="T63" fmla="*/ 1376 h 1482"/>
                <a:gd name="T64" fmla="*/ 3037 w 3815"/>
                <a:gd name="T65" fmla="*/ 1478 h 1482"/>
                <a:gd name="T66" fmla="*/ 2854 w 3815"/>
                <a:gd name="T67" fmla="*/ 1432 h 1482"/>
                <a:gd name="T68" fmla="*/ 2759 w 3815"/>
                <a:gd name="T69" fmla="*/ 1266 h 1482"/>
                <a:gd name="T70" fmla="*/ 2782 w 3815"/>
                <a:gd name="T71" fmla="*/ 143 h 1482"/>
                <a:gd name="T72" fmla="*/ 2921 w 3815"/>
                <a:gd name="T73" fmla="*/ 17 h 1482"/>
                <a:gd name="T74" fmla="*/ 1468 w 3815"/>
                <a:gd name="T75" fmla="*/ 14 h 1482"/>
                <a:gd name="T76" fmla="*/ 1606 w 3815"/>
                <a:gd name="T77" fmla="*/ 141 h 1482"/>
                <a:gd name="T78" fmla="*/ 1445 w 3815"/>
                <a:gd name="T79" fmla="*/ 1458 h 1482"/>
                <a:gd name="T80" fmla="*/ 1150 w 3815"/>
                <a:gd name="T81" fmla="*/ 259 h 1482"/>
                <a:gd name="T82" fmla="*/ 1220 w 3815"/>
                <a:gd name="T83" fmla="*/ 77 h 1482"/>
                <a:gd name="T84" fmla="*/ 1392 w 3815"/>
                <a:gd name="T85" fmla="*/ 2 h 1482"/>
                <a:gd name="T86" fmla="*/ 386 w 3815"/>
                <a:gd name="T87" fmla="*/ 51 h 1482"/>
                <a:gd name="T88" fmla="*/ 482 w 3815"/>
                <a:gd name="T89" fmla="*/ 217 h 1482"/>
                <a:gd name="T90" fmla="*/ 185 w 3815"/>
                <a:gd name="T91" fmla="*/ 845 h 1482"/>
                <a:gd name="T92" fmla="*/ 13 w 3815"/>
                <a:gd name="T93" fmla="*/ 178 h 1482"/>
                <a:gd name="T94" fmla="*/ 132 w 3815"/>
                <a:gd name="T95" fmla="*/ 31 h 1482"/>
                <a:gd name="T96" fmla="*/ 3573 w 3815"/>
                <a:gd name="T97" fmla="*/ 0 h 1482"/>
                <a:gd name="T98" fmla="*/ 3744 w 3815"/>
                <a:gd name="T99" fmla="*/ 76 h 1482"/>
                <a:gd name="T100" fmla="*/ 3815 w 3815"/>
                <a:gd name="T101" fmla="*/ 257 h 1482"/>
                <a:gd name="T102" fmla="*/ 3617 w 3815"/>
                <a:gd name="T103" fmla="*/ 221 h 1482"/>
                <a:gd name="T104" fmla="*/ 3539 w 3815"/>
                <a:gd name="T105" fmla="*/ 207 h 1482"/>
                <a:gd name="T106" fmla="*/ 3330 w 3815"/>
                <a:gd name="T107" fmla="*/ 1458 h 1482"/>
                <a:gd name="T108" fmla="*/ 3378 w 3815"/>
                <a:gd name="T109" fmla="*/ 105 h 1482"/>
                <a:gd name="T110" fmla="*/ 3533 w 3815"/>
                <a:gd name="T111" fmla="*/ 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5" h="1482">
                  <a:moveTo>
                    <a:pt x="2997" y="200"/>
                  </a:moveTo>
                  <a:lnTo>
                    <a:pt x="2979" y="203"/>
                  </a:lnTo>
                  <a:lnTo>
                    <a:pt x="2963" y="211"/>
                  </a:lnTo>
                  <a:lnTo>
                    <a:pt x="2951" y="224"/>
                  </a:lnTo>
                  <a:lnTo>
                    <a:pt x="2943" y="240"/>
                  </a:lnTo>
                  <a:lnTo>
                    <a:pt x="2941" y="259"/>
                  </a:lnTo>
                  <a:lnTo>
                    <a:pt x="2941" y="1227"/>
                  </a:lnTo>
                  <a:lnTo>
                    <a:pt x="2943" y="1245"/>
                  </a:lnTo>
                  <a:lnTo>
                    <a:pt x="2951" y="1262"/>
                  </a:lnTo>
                  <a:lnTo>
                    <a:pt x="2963" y="1274"/>
                  </a:lnTo>
                  <a:lnTo>
                    <a:pt x="2979" y="1282"/>
                  </a:lnTo>
                  <a:lnTo>
                    <a:pt x="2997" y="1286"/>
                  </a:lnTo>
                  <a:lnTo>
                    <a:pt x="3014" y="1282"/>
                  </a:lnTo>
                  <a:lnTo>
                    <a:pt x="3029" y="1274"/>
                  </a:lnTo>
                  <a:lnTo>
                    <a:pt x="3042" y="1262"/>
                  </a:lnTo>
                  <a:lnTo>
                    <a:pt x="3050" y="1245"/>
                  </a:lnTo>
                  <a:lnTo>
                    <a:pt x="3052" y="1227"/>
                  </a:lnTo>
                  <a:lnTo>
                    <a:pt x="3052" y="259"/>
                  </a:lnTo>
                  <a:lnTo>
                    <a:pt x="3050" y="240"/>
                  </a:lnTo>
                  <a:lnTo>
                    <a:pt x="3042" y="224"/>
                  </a:lnTo>
                  <a:lnTo>
                    <a:pt x="3029" y="211"/>
                  </a:lnTo>
                  <a:lnTo>
                    <a:pt x="3014" y="203"/>
                  </a:lnTo>
                  <a:lnTo>
                    <a:pt x="2997" y="200"/>
                  </a:lnTo>
                  <a:close/>
                  <a:moveTo>
                    <a:pt x="1389" y="195"/>
                  </a:moveTo>
                  <a:lnTo>
                    <a:pt x="1372" y="199"/>
                  </a:lnTo>
                  <a:lnTo>
                    <a:pt x="1356" y="207"/>
                  </a:lnTo>
                  <a:lnTo>
                    <a:pt x="1344" y="220"/>
                  </a:lnTo>
                  <a:lnTo>
                    <a:pt x="1336" y="236"/>
                  </a:lnTo>
                  <a:lnTo>
                    <a:pt x="1334" y="254"/>
                  </a:lnTo>
                  <a:lnTo>
                    <a:pt x="1334" y="652"/>
                  </a:lnTo>
                  <a:lnTo>
                    <a:pt x="1445" y="651"/>
                  </a:lnTo>
                  <a:lnTo>
                    <a:pt x="1445" y="254"/>
                  </a:lnTo>
                  <a:lnTo>
                    <a:pt x="1442" y="236"/>
                  </a:lnTo>
                  <a:lnTo>
                    <a:pt x="1435" y="220"/>
                  </a:lnTo>
                  <a:lnTo>
                    <a:pt x="1422" y="207"/>
                  </a:lnTo>
                  <a:lnTo>
                    <a:pt x="1407" y="199"/>
                  </a:lnTo>
                  <a:lnTo>
                    <a:pt x="1389" y="195"/>
                  </a:lnTo>
                  <a:close/>
                  <a:moveTo>
                    <a:pt x="241" y="195"/>
                  </a:moveTo>
                  <a:lnTo>
                    <a:pt x="224" y="199"/>
                  </a:lnTo>
                  <a:lnTo>
                    <a:pt x="207" y="207"/>
                  </a:lnTo>
                  <a:lnTo>
                    <a:pt x="196" y="220"/>
                  </a:lnTo>
                  <a:lnTo>
                    <a:pt x="188" y="236"/>
                  </a:lnTo>
                  <a:lnTo>
                    <a:pt x="185" y="254"/>
                  </a:lnTo>
                  <a:lnTo>
                    <a:pt x="185" y="652"/>
                  </a:lnTo>
                  <a:lnTo>
                    <a:pt x="297" y="651"/>
                  </a:lnTo>
                  <a:lnTo>
                    <a:pt x="297" y="254"/>
                  </a:lnTo>
                  <a:lnTo>
                    <a:pt x="294" y="236"/>
                  </a:lnTo>
                  <a:lnTo>
                    <a:pt x="286" y="220"/>
                  </a:lnTo>
                  <a:lnTo>
                    <a:pt x="273" y="207"/>
                  </a:lnTo>
                  <a:lnTo>
                    <a:pt x="258" y="199"/>
                  </a:lnTo>
                  <a:lnTo>
                    <a:pt x="241" y="195"/>
                  </a:lnTo>
                  <a:close/>
                  <a:moveTo>
                    <a:pt x="2192" y="29"/>
                  </a:moveTo>
                  <a:lnTo>
                    <a:pt x="2378" y="29"/>
                  </a:lnTo>
                  <a:lnTo>
                    <a:pt x="2378" y="648"/>
                  </a:lnTo>
                  <a:lnTo>
                    <a:pt x="2477" y="648"/>
                  </a:lnTo>
                  <a:lnTo>
                    <a:pt x="2477" y="29"/>
                  </a:lnTo>
                  <a:lnTo>
                    <a:pt x="2665" y="29"/>
                  </a:lnTo>
                  <a:lnTo>
                    <a:pt x="2665" y="1458"/>
                  </a:lnTo>
                  <a:lnTo>
                    <a:pt x="2477" y="1458"/>
                  </a:lnTo>
                  <a:lnTo>
                    <a:pt x="2477" y="842"/>
                  </a:lnTo>
                  <a:lnTo>
                    <a:pt x="2379" y="842"/>
                  </a:lnTo>
                  <a:lnTo>
                    <a:pt x="2379" y="1458"/>
                  </a:lnTo>
                  <a:lnTo>
                    <a:pt x="2192" y="1458"/>
                  </a:lnTo>
                  <a:lnTo>
                    <a:pt x="2192" y="29"/>
                  </a:lnTo>
                  <a:close/>
                  <a:moveTo>
                    <a:pt x="1677" y="29"/>
                  </a:moveTo>
                  <a:lnTo>
                    <a:pt x="2128" y="29"/>
                  </a:lnTo>
                  <a:lnTo>
                    <a:pt x="2128" y="216"/>
                  </a:lnTo>
                  <a:lnTo>
                    <a:pt x="1998" y="216"/>
                  </a:lnTo>
                  <a:lnTo>
                    <a:pt x="1998" y="1458"/>
                  </a:lnTo>
                  <a:lnTo>
                    <a:pt x="1810" y="1458"/>
                  </a:lnTo>
                  <a:lnTo>
                    <a:pt x="1810" y="215"/>
                  </a:lnTo>
                  <a:lnTo>
                    <a:pt x="1677" y="215"/>
                  </a:lnTo>
                  <a:lnTo>
                    <a:pt x="1677" y="29"/>
                  </a:lnTo>
                  <a:close/>
                  <a:moveTo>
                    <a:pt x="817" y="5"/>
                  </a:moveTo>
                  <a:lnTo>
                    <a:pt x="856" y="9"/>
                  </a:lnTo>
                  <a:lnTo>
                    <a:pt x="893" y="18"/>
                  </a:lnTo>
                  <a:lnTo>
                    <a:pt x="928" y="33"/>
                  </a:lnTo>
                  <a:lnTo>
                    <a:pt x="959" y="54"/>
                  </a:lnTo>
                  <a:lnTo>
                    <a:pt x="987" y="80"/>
                  </a:lnTo>
                  <a:lnTo>
                    <a:pt x="1012" y="109"/>
                  </a:lnTo>
                  <a:lnTo>
                    <a:pt x="1031" y="144"/>
                  </a:lnTo>
                  <a:lnTo>
                    <a:pt x="1046" y="180"/>
                  </a:lnTo>
                  <a:lnTo>
                    <a:pt x="1056" y="220"/>
                  </a:lnTo>
                  <a:lnTo>
                    <a:pt x="1059" y="261"/>
                  </a:lnTo>
                  <a:lnTo>
                    <a:pt x="1059" y="510"/>
                  </a:lnTo>
                  <a:lnTo>
                    <a:pt x="871" y="510"/>
                  </a:lnTo>
                  <a:lnTo>
                    <a:pt x="871" y="260"/>
                  </a:lnTo>
                  <a:lnTo>
                    <a:pt x="869" y="242"/>
                  </a:lnTo>
                  <a:lnTo>
                    <a:pt x="861" y="225"/>
                  </a:lnTo>
                  <a:lnTo>
                    <a:pt x="848" y="211"/>
                  </a:lnTo>
                  <a:lnTo>
                    <a:pt x="833" y="203"/>
                  </a:lnTo>
                  <a:lnTo>
                    <a:pt x="816" y="201"/>
                  </a:lnTo>
                  <a:lnTo>
                    <a:pt x="798" y="203"/>
                  </a:lnTo>
                  <a:lnTo>
                    <a:pt x="783" y="211"/>
                  </a:lnTo>
                  <a:lnTo>
                    <a:pt x="771" y="225"/>
                  </a:lnTo>
                  <a:lnTo>
                    <a:pt x="762" y="242"/>
                  </a:lnTo>
                  <a:lnTo>
                    <a:pt x="760" y="260"/>
                  </a:lnTo>
                  <a:lnTo>
                    <a:pt x="760" y="1227"/>
                  </a:lnTo>
                  <a:lnTo>
                    <a:pt x="762" y="1245"/>
                  </a:lnTo>
                  <a:lnTo>
                    <a:pt x="771" y="1262"/>
                  </a:lnTo>
                  <a:lnTo>
                    <a:pt x="783" y="1274"/>
                  </a:lnTo>
                  <a:lnTo>
                    <a:pt x="798" y="1284"/>
                  </a:lnTo>
                  <a:lnTo>
                    <a:pt x="816" y="1286"/>
                  </a:lnTo>
                  <a:lnTo>
                    <a:pt x="833" y="1284"/>
                  </a:lnTo>
                  <a:lnTo>
                    <a:pt x="849" y="1274"/>
                  </a:lnTo>
                  <a:lnTo>
                    <a:pt x="861" y="1262"/>
                  </a:lnTo>
                  <a:lnTo>
                    <a:pt x="869" y="1245"/>
                  </a:lnTo>
                  <a:lnTo>
                    <a:pt x="871" y="1227"/>
                  </a:lnTo>
                  <a:lnTo>
                    <a:pt x="871" y="845"/>
                  </a:lnTo>
                  <a:lnTo>
                    <a:pt x="804" y="845"/>
                  </a:lnTo>
                  <a:lnTo>
                    <a:pt x="804" y="655"/>
                  </a:lnTo>
                  <a:lnTo>
                    <a:pt x="1059" y="655"/>
                  </a:lnTo>
                  <a:lnTo>
                    <a:pt x="1059" y="1225"/>
                  </a:lnTo>
                  <a:lnTo>
                    <a:pt x="1056" y="1266"/>
                  </a:lnTo>
                  <a:lnTo>
                    <a:pt x="1046" y="1306"/>
                  </a:lnTo>
                  <a:lnTo>
                    <a:pt x="1031" y="1343"/>
                  </a:lnTo>
                  <a:lnTo>
                    <a:pt x="1012" y="1376"/>
                  </a:lnTo>
                  <a:lnTo>
                    <a:pt x="988" y="1407"/>
                  </a:lnTo>
                  <a:lnTo>
                    <a:pt x="959" y="1432"/>
                  </a:lnTo>
                  <a:lnTo>
                    <a:pt x="928" y="1453"/>
                  </a:lnTo>
                  <a:lnTo>
                    <a:pt x="893" y="1469"/>
                  </a:lnTo>
                  <a:lnTo>
                    <a:pt x="856" y="1478"/>
                  </a:lnTo>
                  <a:lnTo>
                    <a:pt x="817" y="1482"/>
                  </a:lnTo>
                  <a:lnTo>
                    <a:pt x="778" y="1478"/>
                  </a:lnTo>
                  <a:lnTo>
                    <a:pt x="740" y="1469"/>
                  </a:lnTo>
                  <a:lnTo>
                    <a:pt x="706" y="1453"/>
                  </a:lnTo>
                  <a:lnTo>
                    <a:pt x="674" y="1432"/>
                  </a:lnTo>
                  <a:lnTo>
                    <a:pt x="645" y="1407"/>
                  </a:lnTo>
                  <a:lnTo>
                    <a:pt x="621" y="1376"/>
                  </a:lnTo>
                  <a:lnTo>
                    <a:pt x="601" y="1343"/>
                  </a:lnTo>
                  <a:lnTo>
                    <a:pt x="588" y="1306"/>
                  </a:lnTo>
                  <a:lnTo>
                    <a:pt x="578" y="1266"/>
                  </a:lnTo>
                  <a:lnTo>
                    <a:pt x="575" y="1225"/>
                  </a:lnTo>
                  <a:lnTo>
                    <a:pt x="575" y="261"/>
                  </a:lnTo>
                  <a:lnTo>
                    <a:pt x="578" y="220"/>
                  </a:lnTo>
                  <a:lnTo>
                    <a:pt x="588" y="180"/>
                  </a:lnTo>
                  <a:lnTo>
                    <a:pt x="601" y="144"/>
                  </a:lnTo>
                  <a:lnTo>
                    <a:pt x="621" y="109"/>
                  </a:lnTo>
                  <a:lnTo>
                    <a:pt x="645" y="80"/>
                  </a:lnTo>
                  <a:lnTo>
                    <a:pt x="673" y="54"/>
                  </a:lnTo>
                  <a:lnTo>
                    <a:pt x="706" y="33"/>
                  </a:lnTo>
                  <a:lnTo>
                    <a:pt x="740" y="18"/>
                  </a:lnTo>
                  <a:lnTo>
                    <a:pt x="778" y="9"/>
                  </a:lnTo>
                  <a:lnTo>
                    <a:pt x="817" y="5"/>
                  </a:lnTo>
                  <a:close/>
                  <a:moveTo>
                    <a:pt x="2998" y="4"/>
                  </a:moveTo>
                  <a:lnTo>
                    <a:pt x="3036" y="7"/>
                  </a:lnTo>
                  <a:lnTo>
                    <a:pt x="3074" y="17"/>
                  </a:lnTo>
                  <a:lnTo>
                    <a:pt x="3109" y="33"/>
                  </a:lnTo>
                  <a:lnTo>
                    <a:pt x="3140" y="54"/>
                  </a:lnTo>
                  <a:lnTo>
                    <a:pt x="3168" y="79"/>
                  </a:lnTo>
                  <a:lnTo>
                    <a:pt x="3192" y="109"/>
                  </a:lnTo>
                  <a:lnTo>
                    <a:pt x="3212" y="143"/>
                  </a:lnTo>
                  <a:lnTo>
                    <a:pt x="3227" y="180"/>
                  </a:lnTo>
                  <a:lnTo>
                    <a:pt x="3236" y="220"/>
                  </a:lnTo>
                  <a:lnTo>
                    <a:pt x="3239" y="261"/>
                  </a:lnTo>
                  <a:lnTo>
                    <a:pt x="3240" y="1225"/>
                  </a:lnTo>
                  <a:lnTo>
                    <a:pt x="3236" y="1266"/>
                  </a:lnTo>
                  <a:lnTo>
                    <a:pt x="3227" y="1306"/>
                  </a:lnTo>
                  <a:lnTo>
                    <a:pt x="3212" y="1343"/>
                  </a:lnTo>
                  <a:lnTo>
                    <a:pt x="3192" y="1376"/>
                  </a:lnTo>
                  <a:lnTo>
                    <a:pt x="3168" y="1407"/>
                  </a:lnTo>
                  <a:lnTo>
                    <a:pt x="3140" y="1432"/>
                  </a:lnTo>
                  <a:lnTo>
                    <a:pt x="3109" y="1453"/>
                  </a:lnTo>
                  <a:lnTo>
                    <a:pt x="3074" y="1468"/>
                  </a:lnTo>
                  <a:lnTo>
                    <a:pt x="3037" y="1478"/>
                  </a:lnTo>
                  <a:lnTo>
                    <a:pt x="2998" y="1482"/>
                  </a:lnTo>
                  <a:lnTo>
                    <a:pt x="2958" y="1478"/>
                  </a:lnTo>
                  <a:lnTo>
                    <a:pt x="2921" y="1468"/>
                  </a:lnTo>
                  <a:lnTo>
                    <a:pt x="2887" y="1453"/>
                  </a:lnTo>
                  <a:lnTo>
                    <a:pt x="2854" y="1432"/>
                  </a:lnTo>
                  <a:lnTo>
                    <a:pt x="2826" y="1407"/>
                  </a:lnTo>
                  <a:lnTo>
                    <a:pt x="2802" y="1376"/>
                  </a:lnTo>
                  <a:lnTo>
                    <a:pt x="2782" y="1343"/>
                  </a:lnTo>
                  <a:lnTo>
                    <a:pt x="2767" y="1306"/>
                  </a:lnTo>
                  <a:lnTo>
                    <a:pt x="2759" y="1266"/>
                  </a:lnTo>
                  <a:lnTo>
                    <a:pt x="2756" y="1225"/>
                  </a:lnTo>
                  <a:lnTo>
                    <a:pt x="2756" y="261"/>
                  </a:lnTo>
                  <a:lnTo>
                    <a:pt x="2758" y="220"/>
                  </a:lnTo>
                  <a:lnTo>
                    <a:pt x="2767" y="180"/>
                  </a:lnTo>
                  <a:lnTo>
                    <a:pt x="2782" y="143"/>
                  </a:lnTo>
                  <a:lnTo>
                    <a:pt x="2802" y="109"/>
                  </a:lnTo>
                  <a:lnTo>
                    <a:pt x="2826" y="79"/>
                  </a:lnTo>
                  <a:lnTo>
                    <a:pt x="2854" y="54"/>
                  </a:lnTo>
                  <a:lnTo>
                    <a:pt x="2887" y="33"/>
                  </a:lnTo>
                  <a:lnTo>
                    <a:pt x="2921" y="17"/>
                  </a:lnTo>
                  <a:lnTo>
                    <a:pt x="2958" y="7"/>
                  </a:lnTo>
                  <a:lnTo>
                    <a:pt x="2998" y="4"/>
                  </a:lnTo>
                  <a:close/>
                  <a:moveTo>
                    <a:pt x="1392" y="2"/>
                  </a:moveTo>
                  <a:lnTo>
                    <a:pt x="1430" y="5"/>
                  </a:lnTo>
                  <a:lnTo>
                    <a:pt x="1468" y="14"/>
                  </a:lnTo>
                  <a:lnTo>
                    <a:pt x="1502" y="31"/>
                  </a:lnTo>
                  <a:lnTo>
                    <a:pt x="1534" y="51"/>
                  </a:lnTo>
                  <a:lnTo>
                    <a:pt x="1562" y="77"/>
                  </a:lnTo>
                  <a:lnTo>
                    <a:pt x="1586" y="107"/>
                  </a:lnTo>
                  <a:lnTo>
                    <a:pt x="1606" y="141"/>
                  </a:lnTo>
                  <a:lnTo>
                    <a:pt x="1621" y="178"/>
                  </a:lnTo>
                  <a:lnTo>
                    <a:pt x="1630" y="217"/>
                  </a:lnTo>
                  <a:lnTo>
                    <a:pt x="1633" y="259"/>
                  </a:lnTo>
                  <a:lnTo>
                    <a:pt x="1633" y="1458"/>
                  </a:lnTo>
                  <a:lnTo>
                    <a:pt x="1445" y="1458"/>
                  </a:lnTo>
                  <a:lnTo>
                    <a:pt x="1445" y="845"/>
                  </a:lnTo>
                  <a:lnTo>
                    <a:pt x="1334" y="845"/>
                  </a:lnTo>
                  <a:lnTo>
                    <a:pt x="1334" y="1458"/>
                  </a:lnTo>
                  <a:lnTo>
                    <a:pt x="1148" y="1458"/>
                  </a:lnTo>
                  <a:lnTo>
                    <a:pt x="1150" y="259"/>
                  </a:lnTo>
                  <a:lnTo>
                    <a:pt x="1152" y="217"/>
                  </a:lnTo>
                  <a:lnTo>
                    <a:pt x="1161" y="178"/>
                  </a:lnTo>
                  <a:lnTo>
                    <a:pt x="1176" y="141"/>
                  </a:lnTo>
                  <a:lnTo>
                    <a:pt x="1196" y="107"/>
                  </a:lnTo>
                  <a:lnTo>
                    <a:pt x="1220" y="77"/>
                  </a:lnTo>
                  <a:lnTo>
                    <a:pt x="1248" y="51"/>
                  </a:lnTo>
                  <a:lnTo>
                    <a:pt x="1280" y="31"/>
                  </a:lnTo>
                  <a:lnTo>
                    <a:pt x="1314" y="14"/>
                  </a:lnTo>
                  <a:lnTo>
                    <a:pt x="1352" y="5"/>
                  </a:lnTo>
                  <a:lnTo>
                    <a:pt x="1392" y="2"/>
                  </a:lnTo>
                  <a:close/>
                  <a:moveTo>
                    <a:pt x="243" y="2"/>
                  </a:moveTo>
                  <a:lnTo>
                    <a:pt x="282" y="5"/>
                  </a:lnTo>
                  <a:lnTo>
                    <a:pt x="320" y="14"/>
                  </a:lnTo>
                  <a:lnTo>
                    <a:pt x="355" y="31"/>
                  </a:lnTo>
                  <a:lnTo>
                    <a:pt x="386" y="51"/>
                  </a:lnTo>
                  <a:lnTo>
                    <a:pt x="414" y="77"/>
                  </a:lnTo>
                  <a:lnTo>
                    <a:pt x="438" y="107"/>
                  </a:lnTo>
                  <a:lnTo>
                    <a:pt x="458" y="141"/>
                  </a:lnTo>
                  <a:lnTo>
                    <a:pt x="473" y="178"/>
                  </a:lnTo>
                  <a:lnTo>
                    <a:pt x="482" y="217"/>
                  </a:lnTo>
                  <a:lnTo>
                    <a:pt x="484" y="259"/>
                  </a:lnTo>
                  <a:lnTo>
                    <a:pt x="484" y="1458"/>
                  </a:lnTo>
                  <a:lnTo>
                    <a:pt x="297" y="1458"/>
                  </a:lnTo>
                  <a:lnTo>
                    <a:pt x="297" y="845"/>
                  </a:lnTo>
                  <a:lnTo>
                    <a:pt x="185" y="845"/>
                  </a:lnTo>
                  <a:lnTo>
                    <a:pt x="185" y="1458"/>
                  </a:lnTo>
                  <a:lnTo>
                    <a:pt x="0" y="1458"/>
                  </a:lnTo>
                  <a:lnTo>
                    <a:pt x="1" y="259"/>
                  </a:lnTo>
                  <a:lnTo>
                    <a:pt x="3" y="217"/>
                  </a:lnTo>
                  <a:lnTo>
                    <a:pt x="13" y="178"/>
                  </a:lnTo>
                  <a:lnTo>
                    <a:pt x="28" y="141"/>
                  </a:lnTo>
                  <a:lnTo>
                    <a:pt x="48" y="107"/>
                  </a:lnTo>
                  <a:lnTo>
                    <a:pt x="72" y="77"/>
                  </a:lnTo>
                  <a:lnTo>
                    <a:pt x="100" y="51"/>
                  </a:lnTo>
                  <a:lnTo>
                    <a:pt x="132" y="31"/>
                  </a:lnTo>
                  <a:lnTo>
                    <a:pt x="167" y="14"/>
                  </a:lnTo>
                  <a:lnTo>
                    <a:pt x="204" y="5"/>
                  </a:lnTo>
                  <a:lnTo>
                    <a:pt x="243" y="2"/>
                  </a:lnTo>
                  <a:close/>
                  <a:moveTo>
                    <a:pt x="3573" y="0"/>
                  </a:moveTo>
                  <a:lnTo>
                    <a:pt x="3573" y="0"/>
                  </a:lnTo>
                  <a:lnTo>
                    <a:pt x="3612" y="4"/>
                  </a:lnTo>
                  <a:lnTo>
                    <a:pt x="3649" y="13"/>
                  </a:lnTo>
                  <a:lnTo>
                    <a:pt x="3684" y="28"/>
                  </a:lnTo>
                  <a:lnTo>
                    <a:pt x="3716" y="49"/>
                  </a:lnTo>
                  <a:lnTo>
                    <a:pt x="3744" y="76"/>
                  </a:lnTo>
                  <a:lnTo>
                    <a:pt x="3768" y="105"/>
                  </a:lnTo>
                  <a:lnTo>
                    <a:pt x="3788" y="140"/>
                  </a:lnTo>
                  <a:lnTo>
                    <a:pt x="3802" y="175"/>
                  </a:lnTo>
                  <a:lnTo>
                    <a:pt x="3811" y="215"/>
                  </a:lnTo>
                  <a:lnTo>
                    <a:pt x="3815" y="257"/>
                  </a:lnTo>
                  <a:lnTo>
                    <a:pt x="3815" y="1458"/>
                  </a:lnTo>
                  <a:lnTo>
                    <a:pt x="3629" y="1458"/>
                  </a:lnTo>
                  <a:lnTo>
                    <a:pt x="3628" y="255"/>
                  </a:lnTo>
                  <a:lnTo>
                    <a:pt x="3625" y="237"/>
                  </a:lnTo>
                  <a:lnTo>
                    <a:pt x="3617" y="221"/>
                  </a:lnTo>
                  <a:lnTo>
                    <a:pt x="3605" y="207"/>
                  </a:lnTo>
                  <a:lnTo>
                    <a:pt x="3590" y="199"/>
                  </a:lnTo>
                  <a:lnTo>
                    <a:pt x="3571" y="196"/>
                  </a:lnTo>
                  <a:lnTo>
                    <a:pt x="3554" y="199"/>
                  </a:lnTo>
                  <a:lnTo>
                    <a:pt x="3539" y="207"/>
                  </a:lnTo>
                  <a:lnTo>
                    <a:pt x="3527" y="221"/>
                  </a:lnTo>
                  <a:lnTo>
                    <a:pt x="3519" y="237"/>
                  </a:lnTo>
                  <a:lnTo>
                    <a:pt x="3516" y="255"/>
                  </a:lnTo>
                  <a:lnTo>
                    <a:pt x="3516" y="1458"/>
                  </a:lnTo>
                  <a:lnTo>
                    <a:pt x="3330" y="1458"/>
                  </a:lnTo>
                  <a:lnTo>
                    <a:pt x="3330" y="257"/>
                  </a:lnTo>
                  <a:lnTo>
                    <a:pt x="3334" y="215"/>
                  </a:lnTo>
                  <a:lnTo>
                    <a:pt x="3343" y="175"/>
                  </a:lnTo>
                  <a:lnTo>
                    <a:pt x="3358" y="140"/>
                  </a:lnTo>
                  <a:lnTo>
                    <a:pt x="3378" y="105"/>
                  </a:lnTo>
                  <a:lnTo>
                    <a:pt x="3402" y="76"/>
                  </a:lnTo>
                  <a:lnTo>
                    <a:pt x="3430" y="49"/>
                  </a:lnTo>
                  <a:lnTo>
                    <a:pt x="3461" y="28"/>
                  </a:lnTo>
                  <a:lnTo>
                    <a:pt x="3496" y="13"/>
                  </a:lnTo>
                  <a:lnTo>
                    <a:pt x="3533" y="4"/>
                  </a:lnTo>
                  <a:lnTo>
                    <a:pt x="35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27" name="Rectangle 24"/>
            <p:cNvSpPr>
              <a:spLocks noChangeArrowheads="1"/>
            </p:cNvSpPr>
            <p:nvPr userDrawn="1"/>
          </p:nvSpPr>
          <p:spPr bwMode="auto">
            <a:xfrm>
              <a:off x="5810250" y="3795713"/>
              <a:ext cx="3027363" cy="16986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28" name="Freeform 25"/>
            <p:cNvSpPr>
              <a:spLocks/>
            </p:cNvSpPr>
            <p:nvPr userDrawn="1"/>
          </p:nvSpPr>
          <p:spPr bwMode="auto">
            <a:xfrm>
              <a:off x="5810250" y="4092576"/>
              <a:ext cx="100013" cy="134938"/>
            </a:xfrm>
            <a:custGeom>
              <a:avLst/>
              <a:gdLst>
                <a:gd name="T0" fmla="*/ 78 w 125"/>
                <a:gd name="T1" fmla="*/ 1 h 170"/>
                <a:gd name="T2" fmla="*/ 103 w 125"/>
                <a:gd name="T3" fmla="*/ 14 h 170"/>
                <a:gd name="T4" fmla="*/ 118 w 125"/>
                <a:gd name="T5" fmla="*/ 37 h 170"/>
                <a:gd name="T6" fmla="*/ 94 w 125"/>
                <a:gd name="T7" fmla="*/ 52 h 170"/>
                <a:gd name="T8" fmla="*/ 87 w 125"/>
                <a:gd name="T9" fmla="*/ 32 h 170"/>
                <a:gd name="T10" fmla="*/ 71 w 125"/>
                <a:gd name="T11" fmla="*/ 24 h 170"/>
                <a:gd name="T12" fmla="*/ 53 w 125"/>
                <a:gd name="T13" fmla="*/ 24 h 170"/>
                <a:gd name="T14" fmla="*/ 39 w 125"/>
                <a:gd name="T15" fmla="*/ 30 h 170"/>
                <a:gd name="T16" fmla="*/ 32 w 125"/>
                <a:gd name="T17" fmla="*/ 45 h 170"/>
                <a:gd name="T18" fmla="*/ 42 w 125"/>
                <a:gd name="T19" fmla="*/ 61 h 170"/>
                <a:gd name="T20" fmla="*/ 54 w 125"/>
                <a:gd name="T21" fmla="*/ 67 h 170"/>
                <a:gd name="T22" fmla="*/ 71 w 125"/>
                <a:gd name="T23" fmla="*/ 70 h 170"/>
                <a:gd name="T24" fmla="*/ 89 w 125"/>
                <a:gd name="T25" fmla="*/ 76 h 170"/>
                <a:gd name="T26" fmla="*/ 108 w 125"/>
                <a:gd name="T27" fmla="*/ 84 h 170"/>
                <a:gd name="T28" fmla="*/ 123 w 125"/>
                <a:gd name="T29" fmla="*/ 106 h 170"/>
                <a:gd name="T30" fmla="*/ 123 w 125"/>
                <a:gd name="T31" fmla="*/ 135 h 170"/>
                <a:gd name="T32" fmla="*/ 105 w 125"/>
                <a:gd name="T33" fmla="*/ 158 h 170"/>
                <a:gd name="T34" fmla="*/ 79 w 125"/>
                <a:gd name="T35" fmla="*/ 169 h 170"/>
                <a:gd name="T36" fmla="*/ 48 w 125"/>
                <a:gd name="T37" fmla="*/ 169 h 170"/>
                <a:gd name="T38" fmla="*/ 19 w 125"/>
                <a:gd name="T39" fmla="*/ 156 h 170"/>
                <a:gd name="T40" fmla="*/ 2 w 125"/>
                <a:gd name="T41" fmla="*/ 131 h 170"/>
                <a:gd name="T42" fmla="*/ 0 w 125"/>
                <a:gd name="T43" fmla="*/ 112 h 170"/>
                <a:gd name="T44" fmla="*/ 29 w 125"/>
                <a:gd name="T45" fmla="*/ 126 h 170"/>
                <a:gd name="T46" fmla="*/ 43 w 125"/>
                <a:gd name="T47" fmla="*/ 142 h 170"/>
                <a:gd name="T48" fmla="*/ 66 w 125"/>
                <a:gd name="T49" fmla="*/ 147 h 170"/>
                <a:gd name="T50" fmla="*/ 87 w 125"/>
                <a:gd name="T51" fmla="*/ 142 h 170"/>
                <a:gd name="T52" fmla="*/ 97 w 125"/>
                <a:gd name="T53" fmla="*/ 129 h 170"/>
                <a:gd name="T54" fmla="*/ 97 w 125"/>
                <a:gd name="T55" fmla="*/ 114 h 170"/>
                <a:gd name="T56" fmla="*/ 90 w 125"/>
                <a:gd name="T57" fmla="*/ 105 h 170"/>
                <a:gd name="T58" fmla="*/ 73 w 125"/>
                <a:gd name="T59" fmla="*/ 98 h 170"/>
                <a:gd name="T60" fmla="*/ 39 w 125"/>
                <a:gd name="T61" fmla="*/ 89 h 170"/>
                <a:gd name="T62" fmla="*/ 16 w 125"/>
                <a:gd name="T63" fmla="*/ 76 h 170"/>
                <a:gd name="T64" fmla="*/ 7 w 125"/>
                <a:gd name="T65" fmla="*/ 58 h 170"/>
                <a:gd name="T66" fmla="*/ 8 w 125"/>
                <a:gd name="T67" fmla="*/ 33 h 170"/>
                <a:gd name="T68" fmla="*/ 23 w 125"/>
                <a:gd name="T69" fmla="*/ 11 h 170"/>
                <a:gd name="T70" fmla="*/ 48 w 125"/>
                <a:gd name="T71" fmla="*/ 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70">
                  <a:moveTo>
                    <a:pt x="61" y="0"/>
                  </a:moveTo>
                  <a:lnTo>
                    <a:pt x="78" y="1"/>
                  </a:lnTo>
                  <a:lnTo>
                    <a:pt x="92" y="5"/>
                  </a:lnTo>
                  <a:lnTo>
                    <a:pt x="103" y="14"/>
                  </a:lnTo>
                  <a:lnTo>
                    <a:pt x="112" y="23"/>
                  </a:lnTo>
                  <a:lnTo>
                    <a:pt x="118" y="37"/>
                  </a:lnTo>
                  <a:lnTo>
                    <a:pt x="121" y="52"/>
                  </a:lnTo>
                  <a:lnTo>
                    <a:pt x="94" y="52"/>
                  </a:lnTo>
                  <a:lnTo>
                    <a:pt x="92" y="41"/>
                  </a:lnTo>
                  <a:lnTo>
                    <a:pt x="87" y="32"/>
                  </a:lnTo>
                  <a:lnTo>
                    <a:pt x="80" y="27"/>
                  </a:lnTo>
                  <a:lnTo>
                    <a:pt x="71" y="24"/>
                  </a:lnTo>
                  <a:lnTo>
                    <a:pt x="60" y="23"/>
                  </a:lnTo>
                  <a:lnTo>
                    <a:pt x="53" y="24"/>
                  </a:lnTo>
                  <a:lnTo>
                    <a:pt x="45" y="26"/>
                  </a:lnTo>
                  <a:lnTo>
                    <a:pt x="39" y="30"/>
                  </a:lnTo>
                  <a:lnTo>
                    <a:pt x="35" y="36"/>
                  </a:lnTo>
                  <a:lnTo>
                    <a:pt x="32" y="45"/>
                  </a:lnTo>
                  <a:lnTo>
                    <a:pt x="35" y="54"/>
                  </a:lnTo>
                  <a:lnTo>
                    <a:pt x="42" y="61"/>
                  </a:lnTo>
                  <a:lnTo>
                    <a:pt x="51" y="66"/>
                  </a:lnTo>
                  <a:lnTo>
                    <a:pt x="54" y="67"/>
                  </a:lnTo>
                  <a:lnTo>
                    <a:pt x="61" y="68"/>
                  </a:lnTo>
                  <a:lnTo>
                    <a:pt x="71" y="70"/>
                  </a:lnTo>
                  <a:lnTo>
                    <a:pt x="81" y="74"/>
                  </a:lnTo>
                  <a:lnTo>
                    <a:pt x="89" y="76"/>
                  </a:lnTo>
                  <a:lnTo>
                    <a:pt x="95" y="77"/>
                  </a:lnTo>
                  <a:lnTo>
                    <a:pt x="108" y="84"/>
                  </a:lnTo>
                  <a:lnTo>
                    <a:pt x="118" y="95"/>
                  </a:lnTo>
                  <a:lnTo>
                    <a:pt x="123" y="106"/>
                  </a:lnTo>
                  <a:lnTo>
                    <a:pt x="125" y="119"/>
                  </a:lnTo>
                  <a:lnTo>
                    <a:pt x="123" y="135"/>
                  </a:lnTo>
                  <a:lnTo>
                    <a:pt x="116" y="149"/>
                  </a:lnTo>
                  <a:lnTo>
                    <a:pt x="105" y="158"/>
                  </a:lnTo>
                  <a:lnTo>
                    <a:pt x="94" y="165"/>
                  </a:lnTo>
                  <a:lnTo>
                    <a:pt x="79" y="169"/>
                  </a:lnTo>
                  <a:lnTo>
                    <a:pt x="64" y="170"/>
                  </a:lnTo>
                  <a:lnTo>
                    <a:pt x="48" y="169"/>
                  </a:lnTo>
                  <a:lnTo>
                    <a:pt x="32" y="164"/>
                  </a:lnTo>
                  <a:lnTo>
                    <a:pt x="19" y="156"/>
                  </a:lnTo>
                  <a:lnTo>
                    <a:pt x="9" y="146"/>
                  </a:lnTo>
                  <a:lnTo>
                    <a:pt x="2" y="131"/>
                  </a:lnTo>
                  <a:lnTo>
                    <a:pt x="0" y="112"/>
                  </a:lnTo>
                  <a:lnTo>
                    <a:pt x="0" y="112"/>
                  </a:lnTo>
                  <a:lnTo>
                    <a:pt x="27" y="112"/>
                  </a:lnTo>
                  <a:lnTo>
                    <a:pt x="29" y="126"/>
                  </a:lnTo>
                  <a:lnTo>
                    <a:pt x="35" y="135"/>
                  </a:lnTo>
                  <a:lnTo>
                    <a:pt x="43" y="142"/>
                  </a:lnTo>
                  <a:lnTo>
                    <a:pt x="53" y="146"/>
                  </a:lnTo>
                  <a:lnTo>
                    <a:pt x="66" y="147"/>
                  </a:lnTo>
                  <a:lnTo>
                    <a:pt x="78" y="146"/>
                  </a:lnTo>
                  <a:lnTo>
                    <a:pt x="87" y="142"/>
                  </a:lnTo>
                  <a:lnTo>
                    <a:pt x="94" y="136"/>
                  </a:lnTo>
                  <a:lnTo>
                    <a:pt x="97" y="129"/>
                  </a:lnTo>
                  <a:lnTo>
                    <a:pt x="98" y="122"/>
                  </a:lnTo>
                  <a:lnTo>
                    <a:pt x="97" y="114"/>
                  </a:lnTo>
                  <a:lnTo>
                    <a:pt x="94" y="109"/>
                  </a:lnTo>
                  <a:lnTo>
                    <a:pt x="90" y="105"/>
                  </a:lnTo>
                  <a:lnTo>
                    <a:pt x="86" y="103"/>
                  </a:lnTo>
                  <a:lnTo>
                    <a:pt x="73" y="98"/>
                  </a:lnTo>
                  <a:lnTo>
                    <a:pt x="59" y="95"/>
                  </a:lnTo>
                  <a:lnTo>
                    <a:pt x="39" y="89"/>
                  </a:lnTo>
                  <a:lnTo>
                    <a:pt x="27" y="83"/>
                  </a:lnTo>
                  <a:lnTo>
                    <a:pt x="16" y="76"/>
                  </a:lnTo>
                  <a:lnTo>
                    <a:pt x="10" y="67"/>
                  </a:lnTo>
                  <a:lnTo>
                    <a:pt x="7" y="58"/>
                  </a:lnTo>
                  <a:lnTo>
                    <a:pt x="6" y="47"/>
                  </a:lnTo>
                  <a:lnTo>
                    <a:pt x="8" y="33"/>
                  </a:lnTo>
                  <a:lnTo>
                    <a:pt x="14" y="20"/>
                  </a:lnTo>
                  <a:lnTo>
                    <a:pt x="23" y="11"/>
                  </a:lnTo>
                  <a:lnTo>
                    <a:pt x="35" y="5"/>
                  </a:lnTo>
                  <a:lnTo>
                    <a:pt x="48" y="1"/>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29" name="Freeform 26"/>
            <p:cNvSpPr>
              <a:spLocks/>
            </p:cNvSpPr>
            <p:nvPr userDrawn="1"/>
          </p:nvSpPr>
          <p:spPr bwMode="auto">
            <a:xfrm>
              <a:off x="6097588" y="4095751"/>
              <a:ext cx="160338" cy="128588"/>
            </a:xfrm>
            <a:custGeom>
              <a:avLst/>
              <a:gdLst>
                <a:gd name="T0" fmla="*/ 0 w 200"/>
                <a:gd name="T1" fmla="*/ 0 h 164"/>
                <a:gd name="T2" fmla="*/ 28 w 200"/>
                <a:gd name="T3" fmla="*/ 0 h 164"/>
                <a:gd name="T4" fmla="*/ 54 w 200"/>
                <a:gd name="T5" fmla="*/ 125 h 164"/>
                <a:gd name="T6" fmla="*/ 55 w 200"/>
                <a:gd name="T7" fmla="*/ 125 h 164"/>
                <a:gd name="T8" fmla="*/ 85 w 200"/>
                <a:gd name="T9" fmla="*/ 0 h 164"/>
                <a:gd name="T10" fmla="*/ 113 w 200"/>
                <a:gd name="T11" fmla="*/ 0 h 164"/>
                <a:gd name="T12" fmla="*/ 143 w 200"/>
                <a:gd name="T13" fmla="*/ 125 h 164"/>
                <a:gd name="T14" fmla="*/ 145 w 200"/>
                <a:gd name="T15" fmla="*/ 125 h 164"/>
                <a:gd name="T16" fmla="*/ 172 w 200"/>
                <a:gd name="T17" fmla="*/ 0 h 164"/>
                <a:gd name="T18" fmla="*/ 200 w 200"/>
                <a:gd name="T19" fmla="*/ 0 h 164"/>
                <a:gd name="T20" fmla="*/ 157 w 200"/>
                <a:gd name="T21" fmla="*/ 164 h 164"/>
                <a:gd name="T22" fmla="*/ 131 w 200"/>
                <a:gd name="T23" fmla="*/ 164 h 164"/>
                <a:gd name="T24" fmla="*/ 99 w 200"/>
                <a:gd name="T25" fmla="*/ 39 h 164"/>
                <a:gd name="T26" fmla="*/ 99 w 200"/>
                <a:gd name="T27" fmla="*/ 39 h 164"/>
                <a:gd name="T28" fmla="*/ 68 w 200"/>
                <a:gd name="T29" fmla="*/ 164 h 164"/>
                <a:gd name="T30" fmla="*/ 40 w 200"/>
                <a:gd name="T31" fmla="*/ 164 h 164"/>
                <a:gd name="T32" fmla="*/ 0 w 200"/>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64">
                  <a:moveTo>
                    <a:pt x="0" y="0"/>
                  </a:moveTo>
                  <a:lnTo>
                    <a:pt x="28" y="0"/>
                  </a:lnTo>
                  <a:lnTo>
                    <a:pt x="54" y="125"/>
                  </a:lnTo>
                  <a:lnTo>
                    <a:pt x="55" y="125"/>
                  </a:lnTo>
                  <a:lnTo>
                    <a:pt x="85" y="0"/>
                  </a:lnTo>
                  <a:lnTo>
                    <a:pt x="113" y="0"/>
                  </a:lnTo>
                  <a:lnTo>
                    <a:pt x="143" y="125"/>
                  </a:lnTo>
                  <a:lnTo>
                    <a:pt x="145" y="125"/>
                  </a:lnTo>
                  <a:lnTo>
                    <a:pt x="172" y="0"/>
                  </a:lnTo>
                  <a:lnTo>
                    <a:pt x="200" y="0"/>
                  </a:lnTo>
                  <a:lnTo>
                    <a:pt x="157" y="164"/>
                  </a:lnTo>
                  <a:lnTo>
                    <a:pt x="131" y="164"/>
                  </a:lnTo>
                  <a:lnTo>
                    <a:pt x="99" y="39"/>
                  </a:lnTo>
                  <a:lnTo>
                    <a:pt x="99" y="39"/>
                  </a:lnTo>
                  <a:lnTo>
                    <a:pt x="68" y="164"/>
                  </a:lnTo>
                  <a:lnTo>
                    <a:pt x="4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0" name="Rectangle 27"/>
            <p:cNvSpPr>
              <a:spLocks noChangeArrowheads="1"/>
            </p:cNvSpPr>
            <p:nvPr userDrawn="1"/>
          </p:nvSpPr>
          <p:spPr bwMode="auto">
            <a:xfrm>
              <a:off x="6453188" y="4095751"/>
              <a:ext cx="20638" cy="128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1" name="Freeform 28"/>
            <p:cNvSpPr>
              <a:spLocks/>
            </p:cNvSpPr>
            <p:nvPr userDrawn="1"/>
          </p:nvSpPr>
          <p:spPr bwMode="auto">
            <a:xfrm>
              <a:off x="6670675" y="4095751"/>
              <a:ext cx="98425" cy="128588"/>
            </a:xfrm>
            <a:custGeom>
              <a:avLst/>
              <a:gdLst>
                <a:gd name="T0" fmla="*/ 0 w 124"/>
                <a:gd name="T1" fmla="*/ 0 h 164"/>
                <a:gd name="T2" fmla="*/ 124 w 124"/>
                <a:gd name="T3" fmla="*/ 0 h 164"/>
                <a:gd name="T4" fmla="*/ 124 w 124"/>
                <a:gd name="T5" fmla="*/ 26 h 164"/>
                <a:gd name="T6" fmla="*/ 75 w 124"/>
                <a:gd name="T7" fmla="*/ 26 h 164"/>
                <a:gd name="T8" fmla="*/ 75 w 124"/>
                <a:gd name="T9" fmla="*/ 164 h 164"/>
                <a:gd name="T10" fmla="*/ 47 w 124"/>
                <a:gd name="T11" fmla="*/ 164 h 164"/>
                <a:gd name="T12" fmla="*/ 47 w 124"/>
                <a:gd name="T13" fmla="*/ 26 h 164"/>
                <a:gd name="T14" fmla="*/ 0 w 124"/>
                <a:gd name="T15" fmla="*/ 26 h 164"/>
                <a:gd name="T16" fmla="*/ 0 w 124"/>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64">
                  <a:moveTo>
                    <a:pt x="0" y="0"/>
                  </a:moveTo>
                  <a:lnTo>
                    <a:pt x="124" y="0"/>
                  </a:lnTo>
                  <a:lnTo>
                    <a:pt x="124" y="26"/>
                  </a:lnTo>
                  <a:lnTo>
                    <a:pt x="75" y="26"/>
                  </a:lnTo>
                  <a:lnTo>
                    <a:pt x="75" y="164"/>
                  </a:lnTo>
                  <a:lnTo>
                    <a:pt x="47" y="164"/>
                  </a:lnTo>
                  <a:lnTo>
                    <a:pt x="47" y="26"/>
                  </a:lnTo>
                  <a:lnTo>
                    <a:pt x="0" y="2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2" name="Freeform 29"/>
            <p:cNvSpPr>
              <a:spLocks/>
            </p:cNvSpPr>
            <p:nvPr userDrawn="1"/>
          </p:nvSpPr>
          <p:spPr bwMode="auto">
            <a:xfrm>
              <a:off x="6956425" y="4095751"/>
              <a:ext cx="100013" cy="128588"/>
            </a:xfrm>
            <a:custGeom>
              <a:avLst/>
              <a:gdLst>
                <a:gd name="T0" fmla="*/ 7 w 126"/>
                <a:gd name="T1" fmla="*/ 0 h 164"/>
                <a:gd name="T2" fmla="*/ 124 w 126"/>
                <a:gd name="T3" fmla="*/ 0 h 164"/>
                <a:gd name="T4" fmla="*/ 124 w 126"/>
                <a:gd name="T5" fmla="*/ 22 h 164"/>
                <a:gd name="T6" fmla="*/ 35 w 126"/>
                <a:gd name="T7" fmla="*/ 139 h 164"/>
                <a:gd name="T8" fmla="*/ 126 w 126"/>
                <a:gd name="T9" fmla="*/ 139 h 164"/>
                <a:gd name="T10" fmla="*/ 126 w 126"/>
                <a:gd name="T11" fmla="*/ 164 h 164"/>
                <a:gd name="T12" fmla="*/ 0 w 126"/>
                <a:gd name="T13" fmla="*/ 164 h 164"/>
                <a:gd name="T14" fmla="*/ 0 w 126"/>
                <a:gd name="T15" fmla="*/ 140 h 164"/>
                <a:gd name="T16" fmla="*/ 89 w 126"/>
                <a:gd name="T17" fmla="*/ 26 h 164"/>
                <a:gd name="T18" fmla="*/ 7 w 126"/>
                <a:gd name="T19" fmla="*/ 26 h 164"/>
                <a:gd name="T20" fmla="*/ 7 w 126"/>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64">
                  <a:moveTo>
                    <a:pt x="7" y="0"/>
                  </a:moveTo>
                  <a:lnTo>
                    <a:pt x="124" y="0"/>
                  </a:lnTo>
                  <a:lnTo>
                    <a:pt x="124" y="22"/>
                  </a:lnTo>
                  <a:lnTo>
                    <a:pt x="35" y="139"/>
                  </a:lnTo>
                  <a:lnTo>
                    <a:pt x="126" y="139"/>
                  </a:lnTo>
                  <a:lnTo>
                    <a:pt x="126" y="164"/>
                  </a:lnTo>
                  <a:lnTo>
                    <a:pt x="0" y="164"/>
                  </a:lnTo>
                  <a:lnTo>
                    <a:pt x="0" y="140"/>
                  </a:lnTo>
                  <a:lnTo>
                    <a:pt x="89" y="26"/>
                  </a:lnTo>
                  <a:lnTo>
                    <a:pt x="7" y="26"/>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3" name="Freeform 30"/>
            <p:cNvSpPr>
              <a:spLocks/>
            </p:cNvSpPr>
            <p:nvPr userDrawn="1"/>
          </p:nvSpPr>
          <p:spPr bwMode="auto">
            <a:xfrm>
              <a:off x="7254875" y="4095751"/>
              <a:ext cx="88900" cy="128588"/>
            </a:xfrm>
            <a:custGeom>
              <a:avLst/>
              <a:gdLst>
                <a:gd name="T0" fmla="*/ 0 w 112"/>
                <a:gd name="T1" fmla="*/ 0 h 164"/>
                <a:gd name="T2" fmla="*/ 111 w 112"/>
                <a:gd name="T3" fmla="*/ 0 h 164"/>
                <a:gd name="T4" fmla="*/ 111 w 112"/>
                <a:gd name="T5" fmla="*/ 26 h 164"/>
                <a:gd name="T6" fmla="*/ 27 w 112"/>
                <a:gd name="T7" fmla="*/ 26 h 164"/>
                <a:gd name="T8" fmla="*/ 27 w 112"/>
                <a:gd name="T9" fmla="*/ 68 h 164"/>
                <a:gd name="T10" fmla="*/ 105 w 112"/>
                <a:gd name="T11" fmla="*/ 68 h 164"/>
                <a:gd name="T12" fmla="*/ 105 w 112"/>
                <a:gd name="T13" fmla="*/ 92 h 164"/>
                <a:gd name="T14" fmla="*/ 27 w 112"/>
                <a:gd name="T15" fmla="*/ 92 h 164"/>
                <a:gd name="T16" fmla="*/ 27 w 112"/>
                <a:gd name="T17" fmla="*/ 139 h 164"/>
                <a:gd name="T18" fmla="*/ 112 w 112"/>
                <a:gd name="T19" fmla="*/ 139 h 164"/>
                <a:gd name="T20" fmla="*/ 112 w 112"/>
                <a:gd name="T21" fmla="*/ 164 h 164"/>
                <a:gd name="T22" fmla="*/ 0 w 112"/>
                <a:gd name="T23" fmla="*/ 164 h 164"/>
                <a:gd name="T24" fmla="*/ 0 w 112"/>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64">
                  <a:moveTo>
                    <a:pt x="0" y="0"/>
                  </a:moveTo>
                  <a:lnTo>
                    <a:pt x="111" y="0"/>
                  </a:lnTo>
                  <a:lnTo>
                    <a:pt x="111" y="26"/>
                  </a:lnTo>
                  <a:lnTo>
                    <a:pt x="27" y="26"/>
                  </a:lnTo>
                  <a:lnTo>
                    <a:pt x="27" y="68"/>
                  </a:lnTo>
                  <a:lnTo>
                    <a:pt x="105" y="68"/>
                  </a:lnTo>
                  <a:lnTo>
                    <a:pt x="105" y="92"/>
                  </a:lnTo>
                  <a:lnTo>
                    <a:pt x="27" y="92"/>
                  </a:lnTo>
                  <a:lnTo>
                    <a:pt x="27" y="139"/>
                  </a:lnTo>
                  <a:lnTo>
                    <a:pt x="112" y="139"/>
                  </a:lnTo>
                  <a:lnTo>
                    <a:pt x="112"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4" name="Freeform 31"/>
            <p:cNvSpPr>
              <a:spLocks noEditPoints="1"/>
            </p:cNvSpPr>
            <p:nvPr userDrawn="1"/>
          </p:nvSpPr>
          <p:spPr bwMode="auto">
            <a:xfrm>
              <a:off x="7543800" y="4095751"/>
              <a:ext cx="103188" cy="128588"/>
            </a:xfrm>
            <a:custGeom>
              <a:avLst/>
              <a:gdLst>
                <a:gd name="T0" fmla="*/ 27 w 130"/>
                <a:gd name="T1" fmla="*/ 24 h 164"/>
                <a:gd name="T2" fmla="*/ 27 w 130"/>
                <a:gd name="T3" fmla="*/ 74 h 164"/>
                <a:gd name="T4" fmla="*/ 71 w 130"/>
                <a:gd name="T5" fmla="*/ 74 h 164"/>
                <a:gd name="T6" fmla="*/ 83 w 130"/>
                <a:gd name="T7" fmla="*/ 73 h 164"/>
                <a:gd name="T8" fmla="*/ 91 w 130"/>
                <a:gd name="T9" fmla="*/ 68 h 164"/>
                <a:gd name="T10" fmla="*/ 96 w 130"/>
                <a:gd name="T11" fmla="*/ 60 h 164"/>
                <a:gd name="T12" fmla="*/ 98 w 130"/>
                <a:gd name="T13" fmla="*/ 49 h 164"/>
                <a:gd name="T14" fmla="*/ 96 w 130"/>
                <a:gd name="T15" fmla="*/ 38 h 164"/>
                <a:gd name="T16" fmla="*/ 92 w 130"/>
                <a:gd name="T17" fmla="*/ 31 h 164"/>
                <a:gd name="T18" fmla="*/ 86 w 130"/>
                <a:gd name="T19" fmla="*/ 27 h 164"/>
                <a:gd name="T20" fmla="*/ 79 w 130"/>
                <a:gd name="T21" fmla="*/ 24 h 164"/>
                <a:gd name="T22" fmla="*/ 71 w 130"/>
                <a:gd name="T23" fmla="*/ 24 h 164"/>
                <a:gd name="T24" fmla="*/ 27 w 130"/>
                <a:gd name="T25" fmla="*/ 24 h 164"/>
                <a:gd name="T26" fmla="*/ 0 w 130"/>
                <a:gd name="T27" fmla="*/ 0 h 164"/>
                <a:gd name="T28" fmla="*/ 73 w 130"/>
                <a:gd name="T29" fmla="*/ 0 h 164"/>
                <a:gd name="T30" fmla="*/ 92 w 130"/>
                <a:gd name="T31" fmla="*/ 2 h 164"/>
                <a:gd name="T32" fmla="*/ 106 w 130"/>
                <a:gd name="T33" fmla="*/ 8 h 164"/>
                <a:gd name="T34" fmla="*/ 116 w 130"/>
                <a:gd name="T35" fmla="*/ 17 h 164"/>
                <a:gd name="T36" fmla="*/ 122 w 130"/>
                <a:gd name="T37" fmla="*/ 29 h 164"/>
                <a:gd name="T38" fmla="*/ 124 w 130"/>
                <a:gd name="T39" fmla="*/ 44 h 164"/>
                <a:gd name="T40" fmla="*/ 123 w 130"/>
                <a:gd name="T41" fmla="*/ 58 h 164"/>
                <a:gd name="T42" fmla="*/ 119 w 130"/>
                <a:gd name="T43" fmla="*/ 68 h 164"/>
                <a:gd name="T44" fmla="*/ 114 w 130"/>
                <a:gd name="T45" fmla="*/ 77 h 164"/>
                <a:gd name="T46" fmla="*/ 108 w 130"/>
                <a:gd name="T47" fmla="*/ 81 h 164"/>
                <a:gd name="T48" fmla="*/ 102 w 130"/>
                <a:gd name="T49" fmla="*/ 85 h 164"/>
                <a:gd name="T50" fmla="*/ 99 w 130"/>
                <a:gd name="T51" fmla="*/ 86 h 164"/>
                <a:gd name="T52" fmla="*/ 99 w 130"/>
                <a:gd name="T53" fmla="*/ 86 h 164"/>
                <a:gd name="T54" fmla="*/ 105 w 130"/>
                <a:gd name="T55" fmla="*/ 88 h 164"/>
                <a:gd name="T56" fmla="*/ 112 w 130"/>
                <a:gd name="T57" fmla="*/ 92 h 164"/>
                <a:gd name="T58" fmla="*/ 116 w 130"/>
                <a:gd name="T59" fmla="*/ 97 h 164"/>
                <a:gd name="T60" fmla="*/ 121 w 130"/>
                <a:gd name="T61" fmla="*/ 107 h 164"/>
                <a:gd name="T62" fmla="*/ 122 w 130"/>
                <a:gd name="T63" fmla="*/ 121 h 164"/>
                <a:gd name="T64" fmla="*/ 122 w 130"/>
                <a:gd name="T65" fmla="*/ 135 h 164"/>
                <a:gd name="T66" fmla="*/ 124 w 130"/>
                <a:gd name="T67" fmla="*/ 146 h 164"/>
                <a:gd name="T68" fmla="*/ 127 w 130"/>
                <a:gd name="T69" fmla="*/ 157 h 164"/>
                <a:gd name="T70" fmla="*/ 130 w 130"/>
                <a:gd name="T71" fmla="*/ 164 h 164"/>
                <a:gd name="T72" fmla="*/ 101 w 130"/>
                <a:gd name="T73" fmla="*/ 164 h 164"/>
                <a:gd name="T74" fmla="*/ 98 w 130"/>
                <a:gd name="T75" fmla="*/ 152 h 164"/>
                <a:gd name="T76" fmla="*/ 98 w 130"/>
                <a:gd name="T77" fmla="*/ 139 h 164"/>
                <a:gd name="T78" fmla="*/ 96 w 130"/>
                <a:gd name="T79" fmla="*/ 124 h 164"/>
                <a:gd name="T80" fmla="*/ 94 w 130"/>
                <a:gd name="T81" fmla="*/ 111 h 164"/>
                <a:gd name="T82" fmla="*/ 88 w 130"/>
                <a:gd name="T83" fmla="*/ 103 h 164"/>
                <a:gd name="T84" fmla="*/ 79 w 130"/>
                <a:gd name="T85" fmla="*/ 99 h 164"/>
                <a:gd name="T86" fmla="*/ 68 w 130"/>
                <a:gd name="T87" fmla="*/ 96 h 164"/>
                <a:gd name="T88" fmla="*/ 27 w 130"/>
                <a:gd name="T89" fmla="*/ 96 h 164"/>
                <a:gd name="T90" fmla="*/ 27 w 130"/>
                <a:gd name="T91" fmla="*/ 164 h 164"/>
                <a:gd name="T92" fmla="*/ 0 w 130"/>
                <a:gd name="T93" fmla="*/ 164 h 164"/>
                <a:gd name="T94" fmla="*/ 0 w 130"/>
                <a:gd name="T9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4">
                  <a:moveTo>
                    <a:pt x="27" y="24"/>
                  </a:moveTo>
                  <a:lnTo>
                    <a:pt x="27" y="74"/>
                  </a:lnTo>
                  <a:lnTo>
                    <a:pt x="71" y="74"/>
                  </a:lnTo>
                  <a:lnTo>
                    <a:pt x="83" y="73"/>
                  </a:lnTo>
                  <a:lnTo>
                    <a:pt x="91" y="68"/>
                  </a:lnTo>
                  <a:lnTo>
                    <a:pt x="96" y="60"/>
                  </a:lnTo>
                  <a:lnTo>
                    <a:pt x="98" y="49"/>
                  </a:lnTo>
                  <a:lnTo>
                    <a:pt x="96" y="38"/>
                  </a:lnTo>
                  <a:lnTo>
                    <a:pt x="92" y="31"/>
                  </a:lnTo>
                  <a:lnTo>
                    <a:pt x="86" y="27"/>
                  </a:lnTo>
                  <a:lnTo>
                    <a:pt x="79" y="24"/>
                  </a:lnTo>
                  <a:lnTo>
                    <a:pt x="71" y="24"/>
                  </a:lnTo>
                  <a:lnTo>
                    <a:pt x="27" y="24"/>
                  </a:lnTo>
                  <a:close/>
                  <a:moveTo>
                    <a:pt x="0" y="0"/>
                  </a:moveTo>
                  <a:lnTo>
                    <a:pt x="73" y="0"/>
                  </a:lnTo>
                  <a:lnTo>
                    <a:pt x="92" y="2"/>
                  </a:lnTo>
                  <a:lnTo>
                    <a:pt x="106" y="8"/>
                  </a:lnTo>
                  <a:lnTo>
                    <a:pt x="116" y="17"/>
                  </a:lnTo>
                  <a:lnTo>
                    <a:pt x="122" y="29"/>
                  </a:lnTo>
                  <a:lnTo>
                    <a:pt x="124" y="44"/>
                  </a:lnTo>
                  <a:lnTo>
                    <a:pt x="123" y="58"/>
                  </a:lnTo>
                  <a:lnTo>
                    <a:pt x="119" y="68"/>
                  </a:lnTo>
                  <a:lnTo>
                    <a:pt x="114" y="77"/>
                  </a:lnTo>
                  <a:lnTo>
                    <a:pt x="108" y="81"/>
                  </a:lnTo>
                  <a:lnTo>
                    <a:pt x="102" y="85"/>
                  </a:lnTo>
                  <a:lnTo>
                    <a:pt x="99" y="86"/>
                  </a:lnTo>
                  <a:lnTo>
                    <a:pt x="99" y="86"/>
                  </a:lnTo>
                  <a:lnTo>
                    <a:pt x="105" y="88"/>
                  </a:lnTo>
                  <a:lnTo>
                    <a:pt x="112" y="92"/>
                  </a:lnTo>
                  <a:lnTo>
                    <a:pt x="116" y="97"/>
                  </a:lnTo>
                  <a:lnTo>
                    <a:pt x="121" y="107"/>
                  </a:lnTo>
                  <a:lnTo>
                    <a:pt x="122" y="121"/>
                  </a:lnTo>
                  <a:lnTo>
                    <a:pt x="122" y="135"/>
                  </a:lnTo>
                  <a:lnTo>
                    <a:pt x="124" y="146"/>
                  </a:lnTo>
                  <a:lnTo>
                    <a:pt x="127" y="157"/>
                  </a:lnTo>
                  <a:lnTo>
                    <a:pt x="130" y="164"/>
                  </a:lnTo>
                  <a:lnTo>
                    <a:pt x="101" y="164"/>
                  </a:lnTo>
                  <a:lnTo>
                    <a:pt x="98" y="152"/>
                  </a:lnTo>
                  <a:lnTo>
                    <a:pt x="98" y="139"/>
                  </a:lnTo>
                  <a:lnTo>
                    <a:pt x="96" y="124"/>
                  </a:lnTo>
                  <a:lnTo>
                    <a:pt x="94" y="111"/>
                  </a:lnTo>
                  <a:lnTo>
                    <a:pt x="88" y="103"/>
                  </a:lnTo>
                  <a:lnTo>
                    <a:pt x="79" y="99"/>
                  </a:lnTo>
                  <a:lnTo>
                    <a:pt x="68" y="96"/>
                  </a:lnTo>
                  <a:lnTo>
                    <a:pt x="27" y="96"/>
                  </a:lnTo>
                  <a:lnTo>
                    <a:pt x="27"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5" name="Freeform 32"/>
            <p:cNvSpPr>
              <a:spLocks/>
            </p:cNvSpPr>
            <p:nvPr userDrawn="1"/>
          </p:nvSpPr>
          <p:spPr bwMode="auto">
            <a:xfrm>
              <a:off x="7847013" y="4095751"/>
              <a:ext cx="82550" cy="128588"/>
            </a:xfrm>
            <a:custGeom>
              <a:avLst/>
              <a:gdLst>
                <a:gd name="T0" fmla="*/ 0 w 104"/>
                <a:gd name="T1" fmla="*/ 0 h 164"/>
                <a:gd name="T2" fmla="*/ 26 w 104"/>
                <a:gd name="T3" fmla="*/ 0 h 164"/>
                <a:gd name="T4" fmla="*/ 26 w 104"/>
                <a:gd name="T5" fmla="*/ 139 h 164"/>
                <a:gd name="T6" fmla="*/ 104 w 104"/>
                <a:gd name="T7" fmla="*/ 139 h 164"/>
                <a:gd name="T8" fmla="*/ 104 w 104"/>
                <a:gd name="T9" fmla="*/ 164 h 164"/>
                <a:gd name="T10" fmla="*/ 0 w 104"/>
                <a:gd name="T11" fmla="*/ 164 h 164"/>
                <a:gd name="T12" fmla="*/ 0 w 104"/>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04" h="164">
                  <a:moveTo>
                    <a:pt x="0" y="0"/>
                  </a:moveTo>
                  <a:lnTo>
                    <a:pt x="26" y="0"/>
                  </a:lnTo>
                  <a:lnTo>
                    <a:pt x="26" y="139"/>
                  </a:lnTo>
                  <a:lnTo>
                    <a:pt x="104" y="139"/>
                  </a:lnTo>
                  <a:lnTo>
                    <a:pt x="104"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6" name="Freeform 33"/>
            <p:cNvSpPr>
              <a:spLocks noEditPoints="1"/>
            </p:cNvSpPr>
            <p:nvPr userDrawn="1"/>
          </p:nvSpPr>
          <p:spPr bwMode="auto">
            <a:xfrm>
              <a:off x="8112125" y="4095751"/>
              <a:ext cx="115888" cy="128588"/>
            </a:xfrm>
            <a:custGeom>
              <a:avLst/>
              <a:gdLst>
                <a:gd name="T0" fmla="*/ 72 w 146"/>
                <a:gd name="T1" fmla="*/ 29 h 164"/>
                <a:gd name="T2" fmla="*/ 49 w 146"/>
                <a:gd name="T3" fmla="*/ 99 h 164"/>
                <a:gd name="T4" fmla="*/ 97 w 146"/>
                <a:gd name="T5" fmla="*/ 99 h 164"/>
                <a:gd name="T6" fmla="*/ 73 w 146"/>
                <a:gd name="T7" fmla="*/ 29 h 164"/>
                <a:gd name="T8" fmla="*/ 72 w 146"/>
                <a:gd name="T9" fmla="*/ 29 h 164"/>
                <a:gd name="T10" fmla="*/ 58 w 146"/>
                <a:gd name="T11" fmla="*/ 0 h 164"/>
                <a:gd name="T12" fmla="*/ 87 w 146"/>
                <a:gd name="T13" fmla="*/ 0 h 164"/>
                <a:gd name="T14" fmla="*/ 146 w 146"/>
                <a:gd name="T15" fmla="*/ 164 h 164"/>
                <a:gd name="T16" fmla="*/ 117 w 146"/>
                <a:gd name="T17" fmla="*/ 164 h 164"/>
                <a:gd name="T18" fmla="*/ 104 w 146"/>
                <a:gd name="T19" fmla="*/ 121 h 164"/>
                <a:gd name="T20" fmla="*/ 42 w 146"/>
                <a:gd name="T21" fmla="*/ 121 h 164"/>
                <a:gd name="T22" fmla="*/ 27 w 146"/>
                <a:gd name="T23" fmla="*/ 164 h 164"/>
                <a:gd name="T24" fmla="*/ 0 w 146"/>
                <a:gd name="T25" fmla="*/ 164 h 164"/>
                <a:gd name="T26" fmla="*/ 58 w 146"/>
                <a:gd name="T2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64">
                  <a:moveTo>
                    <a:pt x="72" y="29"/>
                  </a:moveTo>
                  <a:lnTo>
                    <a:pt x="49" y="99"/>
                  </a:lnTo>
                  <a:lnTo>
                    <a:pt x="97" y="99"/>
                  </a:lnTo>
                  <a:lnTo>
                    <a:pt x="73" y="29"/>
                  </a:lnTo>
                  <a:lnTo>
                    <a:pt x="72" y="29"/>
                  </a:lnTo>
                  <a:close/>
                  <a:moveTo>
                    <a:pt x="58" y="0"/>
                  </a:moveTo>
                  <a:lnTo>
                    <a:pt x="87" y="0"/>
                  </a:lnTo>
                  <a:lnTo>
                    <a:pt x="146" y="164"/>
                  </a:lnTo>
                  <a:lnTo>
                    <a:pt x="117" y="164"/>
                  </a:lnTo>
                  <a:lnTo>
                    <a:pt x="104" y="121"/>
                  </a:lnTo>
                  <a:lnTo>
                    <a:pt x="42" y="121"/>
                  </a:lnTo>
                  <a:lnTo>
                    <a:pt x="27" y="164"/>
                  </a:lnTo>
                  <a:lnTo>
                    <a:pt x="0"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7" name="Freeform 34"/>
            <p:cNvSpPr>
              <a:spLocks/>
            </p:cNvSpPr>
            <p:nvPr userDrawn="1"/>
          </p:nvSpPr>
          <p:spPr bwMode="auto">
            <a:xfrm>
              <a:off x="8420100" y="4095751"/>
              <a:ext cx="100013" cy="128588"/>
            </a:xfrm>
            <a:custGeom>
              <a:avLst/>
              <a:gdLst>
                <a:gd name="T0" fmla="*/ 0 w 125"/>
                <a:gd name="T1" fmla="*/ 0 h 164"/>
                <a:gd name="T2" fmla="*/ 29 w 125"/>
                <a:gd name="T3" fmla="*/ 0 h 164"/>
                <a:gd name="T4" fmla="*/ 98 w 125"/>
                <a:gd name="T5" fmla="*/ 121 h 164"/>
                <a:gd name="T6" fmla="*/ 99 w 125"/>
                <a:gd name="T7" fmla="*/ 121 h 164"/>
                <a:gd name="T8" fmla="*/ 99 w 125"/>
                <a:gd name="T9" fmla="*/ 0 h 164"/>
                <a:gd name="T10" fmla="*/ 125 w 125"/>
                <a:gd name="T11" fmla="*/ 0 h 164"/>
                <a:gd name="T12" fmla="*/ 125 w 125"/>
                <a:gd name="T13" fmla="*/ 164 h 164"/>
                <a:gd name="T14" fmla="*/ 96 w 125"/>
                <a:gd name="T15" fmla="*/ 164 h 164"/>
                <a:gd name="T16" fmla="*/ 26 w 125"/>
                <a:gd name="T17" fmla="*/ 44 h 164"/>
                <a:gd name="T18" fmla="*/ 26 w 125"/>
                <a:gd name="T19" fmla="*/ 44 h 164"/>
                <a:gd name="T20" fmla="*/ 26 w 125"/>
                <a:gd name="T21" fmla="*/ 164 h 164"/>
                <a:gd name="T22" fmla="*/ 0 w 125"/>
                <a:gd name="T23" fmla="*/ 164 h 164"/>
                <a:gd name="T24" fmla="*/ 0 w 125"/>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64">
                  <a:moveTo>
                    <a:pt x="0" y="0"/>
                  </a:moveTo>
                  <a:lnTo>
                    <a:pt x="29" y="0"/>
                  </a:lnTo>
                  <a:lnTo>
                    <a:pt x="98" y="121"/>
                  </a:lnTo>
                  <a:lnTo>
                    <a:pt x="99" y="121"/>
                  </a:lnTo>
                  <a:lnTo>
                    <a:pt x="99" y="0"/>
                  </a:lnTo>
                  <a:lnTo>
                    <a:pt x="125" y="0"/>
                  </a:lnTo>
                  <a:lnTo>
                    <a:pt x="125" y="164"/>
                  </a:lnTo>
                  <a:lnTo>
                    <a:pt x="96" y="164"/>
                  </a:lnTo>
                  <a:lnTo>
                    <a:pt x="26" y="44"/>
                  </a:lnTo>
                  <a:lnTo>
                    <a:pt x="26" y="44"/>
                  </a:lnTo>
                  <a:lnTo>
                    <a:pt x="26"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8" name="Freeform 35"/>
            <p:cNvSpPr>
              <a:spLocks noEditPoints="1"/>
            </p:cNvSpPr>
            <p:nvPr userDrawn="1"/>
          </p:nvSpPr>
          <p:spPr bwMode="auto">
            <a:xfrm>
              <a:off x="8726488" y="4095751"/>
              <a:ext cx="104775" cy="128588"/>
            </a:xfrm>
            <a:custGeom>
              <a:avLst/>
              <a:gdLst>
                <a:gd name="T0" fmla="*/ 26 w 130"/>
                <a:gd name="T1" fmla="*/ 24 h 164"/>
                <a:gd name="T2" fmla="*/ 26 w 130"/>
                <a:gd name="T3" fmla="*/ 140 h 164"/>
                <a:gd name="T4" fmla="*/ 53 w 130"/>
                <a:gd name="T5" fmla="*/ 140 h 164"/>
                <a:gd name="T6" fmla="*/ 69 w 130"/>
                <a:gd name="T7" fmla="*/ 139 h 164"/>
                <a:gd name="T8" fmla="*/ 82 w 130"/>
                <a:gd name="T9" fmla="*/ 135 h 164"/>
                <a:gd name="T10" fmla="*/ 91 w 130"/>
                <a:gd name="T11" fmla="*/ 128 h 164"/>
                <a:gd name="T12" fmla="*/ 97 w 130"/>
                <a:gd name="T13" fmla="*/ 118 h 164"/>
                <a:gd name="T14" fmla="*/ 101 w 130"/>
                <a:gd name="T15" fmla="*/ 108 h 164"/>
                <a:gd name="T16" fmla="*/ 104 w 130"/>
                <a:gd name="T17" fmla="*/ 95 h 164"/>
                <a:gd name="T18" fmla="*/ 104 w 130"/>
                <a:gd name="T19" fmla="*/ 82 h 164"/>
                <a:gd name="T20" fmla="*/ 104 w 130"/>
                <a:gd name="T21" fmla="*/ 68 h 164"/>
                <a:gd name="T22" fmla="*/ 101 w 130"/>
                <a:gd name="T23" fmla="*/ 57 h 164"/>
                <a:gd name="T24" fmla="*/ 97 w 130"/>
                <a:gd name="T25" fmla="*/ 45 h 164"/>
                <a:gd name="T26" fmla="*/ 91 w 130"/>
                <a:gd name="T27" fmla="*/ 36 h 164"/>
                <a:gd name="T28" fmla="*/ 82 w 130"/>
                <a:gd name="T29" fmla="*/ 30 h 164"/>
                <a:gd name="T30" fmla="*/ 69 w 130"/>
                <a:gd name="T31" fmla="*/ 26 h 164"/>
                <a:gd name="T32" fmla="*/ 53 w 130"/>
                <a:gd name="T33" fmla="*/ 24 h 164"/>
                <a:gd name="T34" fmla="*/ 26 w 130"/>
                <a:gd name="T35" fmla="*/ 24 h 164"/>
                <a:gd name="T36" fmla="*/ 0 w 130"/>
                <a:gd name="T37" fmla="*/ 0 h 164"/>
                <a:gd name="T38" fmla="*/ 63 w 130"/>
                <a:gd name="T39" fmla="*/ 0 h 164"/>
                <a:gd name="T40" fmla="*/ 82 w 130"/>
                <a:gd name="T41" fmla="*/ 2 h 164"/>
                <a:gd name="T42" fmla="*/ 97 w 130"/>
                <a:gd name="T43" fmla="*/ 9 h 164"/>
                <a:gd name="T44" fmla="*/ 110 w 130"/>
                <a:gd name="T45" fmla="*/ 19 h 164"/>
                <a:gd name="T46" fmla="*/ 119 w 130"/>
                <a:gd name="T47" fmla="*/ 31 h 164"/>
                <a:gd name="T48" fmla="*/ 126 w 130"/>
                <a:gd name="T49" fmla="*/ 46 h 164"/>
                <a:gd name="T50" fmla="*/ 129 w 130"/>
                <a:gd name="T51" fmla="*/ 64 h 164"/>
                <a:gd name="T52" fmla="*/ 130 w 130"/>
                <a:gd name="T53" fmla="*/ 82 h 164"/>
                <a:gd name="T54" fmla="*/ 129 w 130"/>
                <a:gd name="T55" fmla="*/ 101 h 164"/>
                <a:gd name="T56" fmla="*/ 126 w 130"/>
                <a:gd name="T57" fmla="*/ 118 h 164"/>
                <a:gd name="T58" fmla="*/ 119 w 130"/>
                <a:gd name="T59" fmla="*/ 133 h 164"/>
                <a:gd name="T60" fmla="*/ 110 w 130"/>
                <a:gd name="T61" fmla="*/ 146 h 164"/>
                <a:gd name="T62" fmla="*/ 97 w 130"/>
                <a:gd name="T63" fmla="*/ 155 h 164"/>
                <a:gd name="T64" fmla="*/ 82 w 130"/>
                <a:gd name="T65" fmla="*/ 161 h 164"/>
                <a:gd name="T66" fmla="*/ 63 w 130"/>
                <a:gd name="T67" fmla="*/ 164 h 164"/>
                <a:gd name="T68" fmla="*/ 0 w 130"/>
                <a:gd name="T69" fmla="*/ 164 h 164"/>
                <a:gd name="T70" fmla="*/ 0 w 130"/>
                <a:gd name="T7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64">
                  <a:moveTo>
                    <a:pt x="26" y="24"/>
                  </a:moveTo>
                  <a:lnTo>
                    <a:pt x="26" y="140"/>
                  </a:lnTo>
                  <a:lnTo>
                    <a:pt x="53" y="140"/>
                  </a:lnTo>
                  <a:lnTo>
                    <a:pt x="69" y="139"/>
                  </a:lnTo>
                  <a:lnTo>
                    <a:pt x="82" y="135"/>
                  </a:lnTo>
                  <a:lnTo>
                    <a:pt x="91" y="128"/>
                  </a:lnTo>
                  <a:lnTo>
                    <a:pt x="97" y="118"/>
                  </a:lnTo>
                  <a:lnTo>
                    <a:pt x="101" y="108"/>
                  </a:lnTo>
                  <a:lnTo>
                    <a:pt x="104" y="95"/>
                  </a:lnTo>
                  <a:lnTo>
                    <a:pt x="104" y="82"/>
                  </a:lnTo>
                  <a:lnTo>
                    <a:pt x="104" y="68"/>
                  </a:lnTo>
                  <a:lnTo>
                    <a:pt x="101" y="57"/>
                  </a:lnTo>
                  <a:lnTo>
                    <a:pt x="97" y="45"/>
                  </a:lnTo>
                  <a:lnTo>
                    <a:pt x="91" y="36"/>
                  </a:lnTo>
                  <a:lnTo>
                    <a:pt x="82" y="30"/>
                  </a:lnTo>
                  <a:lnTo>
                    <a:pt x="69" y="26"/>
                  </a:lnTo>
                  <a:lnTo>
                    <a:pt x="53" y="24"/>
                  </a:lnTo>
                  <a:lnTo>
                    <a:pt x="26" y="24"/>
                  </a:lnTo>
                  <a:close/>
                  <a:moveTo>
                    <a:pt x="0" y="0"/>
                  </a:moveTo>
                  <a:lnTo>
                    <a:pt x="63" y="0"/>
                  </a:lnTo>
                  <a:lnTo>
                    <a:pt x="82" y="2"/>
                  </a:lnTo>
                  <a:lnTo>
                    <a:pt x="97" y="9"/>
                  </a:lnTo>
                  <a:lnTo>
                    <a:pt x="110" y="19"/>
                  </a:lnTo>
                  <a:lnTo>
                    <a:pt x="119" y="31"/>
                  </a:lnTo>
                  <a:lnTo>
                    <a:pt x="126" y="46"/>
                  </a:lnTo>
                  <a:lnTo>
                    <a:pt x="129" y="64"/>
                  </a:lnTo>
                  <a:lnTo>
                    <a:pt x="130" y="82"/>
                  </a:lnTo>
                  <a:lnTo>
                    <a:pt x="129" y="101"/>
                  </a:lnTo>
                  <a:lnTo>
                    <a:pt x="126" y="118"/>
                  </a:lnTo>
                  <a:lnTo>
                    <a:pt x="119" y="133"/>
                  </a:lnTo>
                  <a:lnTo>
                    <a:pt x="110" y="146"/>
                  </a:lnTo>
                  <a:lnTo>
                    <a:pt x="97" y="155"/>
                  </a:lnTo>
                  <a:lnTo>
                    <a:pt x="82" y="161"/>
                  </a:lnTo>
                  <a:lnTo>
                    <a:pt x="63"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grpSp>
    </p:spTree>
    <p:custDataLst>
      <p:tags r:id="rId2"/>
    </p:custDataLst>
    <p:extLst>
      <p:ext uri="{BB962C8B-B14F-4D97-AF65-F5344CB8AC3E}">
        <p14:creationId xmlns:p14="http://schemas.microsoft.com/office/powerpoint/2010/main" val="665841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ld vollflächig udn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3401848295"/>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5124"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2122" y="1589"/>
                        <a:ext cx="2116" cy="1587"/>
                      </a:xfrm>
                      <a:prstGeom prst="rect">
                        <a:avLst/>
                      </a:prstGeom>
                    </p:spPr>
                  </p:pic>
                </p:oleObj>
              </mc:Fallback>
            </mc:AlternateContent>
          </a:graphicData>
        </a:graphic>
      </p:graphicFrame>
      <p:sp>
        <p:nvSpPr>
          <p:cNvPr id="22" name="Bildplatzhalter 3"/>
          <p:cNvSpPr>
            <a:spLocks noGrp="1"/>
          </p:cNvSpPr>
          <p:nvPr>
            <p:ph type="pic" sz="quarter" idx="12"/>
          </p:nvPr>
        </p:nvSpPr>
        <p:spPr>
          <a:xfrm>
            <a:off x="0" y="576263"/>
            <a:ext cx="12192000" cy="6281737"/>
          </a:xfrm>
          <a:noFill/>
        </p:spPr>
        <p:txBody>
          <a:bodyPr/>
          <a:lstStyle/>
          <a:p>
            <a:r>
              <a:rPr lang="de-DE"/>
              <a:t>Bild durch Klicken auf Symbol hinzufügen</a:t>
            </a:r>
          </a:p>
        </p:txBody>
      </p:sp>
      <p:sp>
        <p:nvSpPr>
          <p:cNvPr id="5" name="Textplatzhalter 4"/>
          <p:cNvSpPr>
            <a:spLocks noGrp="1"/>
          </p:cNvSpPr>
          <p:nvPr>
            <p:ph type="body" sz="quarter" idx="13"/>
          </p:nvPr>
        </p:nvSpPr>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6" name="Titel 5"/>
          <p:cNvSpPr>
            <a:spLocks noGrp="1"/>
          </p:cNvSpPr>
          <p:nvPr>
            <p:ph type="title"/>
          </p:nvPr>
        </p:nvSpPr>
        <p:spPr/>
        <p:txBody>
          <a:bodyPr/>
          <a:lstStyle/>
          <a:p>
            <a:r>
              <a:rPr lang="de-DE"/>
              <a:t>Titelmasterformat durch Klicken bearbeiten</a:t>
            </a:r>
          </a:p>
        </p:txBody>
      </p:sp>
      <p:grpSp>
        <p:nvGrpSpPr>
          <p:cNvPr id="26" name="Gruppieren 25"/>
          <p:cNvGrpSpPr/>
          <p:nvPr userDrawn="1"/>
        </p:nvGrpSpPr>
        <p:grpSpPr>
          <a:xfrm>
            <a:off x="11231035" y="122515"/>
            <a:ext cx="626533" cy="258975"/>
            <a:chOff x="5810250" y="2559051"/>
            <a:chExt cx="3027363" cy="1668463"/>
          </a:xfrm>
          <a:solidFill>
            <a:schemeClr val="bg1"/>
          </a:solidFill>
        </p:grpSpPr>
        <p:sp>
          <p:nvSpPr>
            <p:cNvPr id="27" name="Freeform 23"/>
            <p:cNvSpPr>
              <a:spLocks noEditPoints="1"/>
            </p:cNvSpPr>
            <p:nvPr userDrawn="1"/>
          </p:nvSpPr>
          <p:spPr bwMode="auto">
            <a:xfrm>
              <a:off x="5810250" y="2559051"/>
              <a:ext cx="3027363" cy="1176338"/>
            </a:xfrm>
            <a:custGeom>
              <a:avLst/>
              <a:gdLst>
                <a:gd name="T0" fmla="*/ 2943 w 3815"/>
                <a:gd name="T1" fmla="*/ 240 h 1482"/>
                <a:gd name="T2" fmla="*/ 2963 w 3815"/>
                <a:gd name="T3" fmla="*/ 1274 h 1482"/>
                <a:gd name="T4" fmla="*/ 3042 w 3815"/>
                <a:gd name="T5" fmla="*/ 1262 h 1482"/>
                <a:gd name="T6" fmla="*/ 3042 w 3815"/>
                <a:gd name="T7" fmla="*/ 224 h 1482"/>
                <a:gd name="T8" fmla="*/ 1372 w 3815"/>
                <a:gd name="T9" fmla="*/ 199 h 1482"/>
                <a:gd name="T10" fmla="*/ 1334 w 3815"/>
                <a:gd name="T11" fmla="*/ 652 h 1482"/>
                <a:gd name="T12" fmla="*/ 1422 w 3815"/>
                <a:gd name="T13" fmla="*/ 207 h 1482"/>
                <a:gd name="T14" fmla="*/ 207 w 3815"/>
                <a:gd name="T15" fmla="*/ 207 h 1482"/>
                <a:gd name="T16" fmla="*/ 297 w 3815"/>
                <a:gd name="T17" fmla="*/ 651 h 1482"/>
                <a:gd name="T18" fmla="*/ 258 w 3815"/>
                <a:gd name="T19" fmla="*/ 199 h 1482"/>
                <a:gd name="T20" fmla="*/ 2477 w 3815"/>
                <a:gd name="T21" fmla="*/ 648 h 1482"/>
                <a:gd name="T22" fmla="*/ 2477 w 3815"/>
                <a:gd name="T23" fmla="*/ 842 h 1482"/>
                <a:gd name="T24" fmla="*/ 1677 w 3815"/>
                <a:gd name="T25" fmla="*/ 29 h 1482"/>
                <a:gd name="T26" fmla="*/ 1810 w 3815"/>
                <a:gd name="T27" fmla="*/ 1458 h 1482"/>
                <a:gd name="T28" fmla="*/ 856 w 3815"/>
                <a:gd name="T29" fmla="*/ 9 h 1482"/>
                <a:gd name="T30" fmla="*/ 1012 w 3815"/>
                <a:gd name="T31" fmla="*/ 109 h 1482"/>
                <a:gd name="T32" fmla="*/ 1059 w 3815"/>
                <a:gd name="T33" fmla="*/ 510 h 1482"/>
                <a:gd name="T34" fmla="*/ 848 w 3815"/>
                <a:gd name="T35" fmla="*/ 211 h 1482"/>
                <a:gd name="T36" fmla="*/ 771 w 3815"/>
                <a:gd name="T37" fmla="*/ 225 h 1482"/>
                <a:gd name="T38" fmla="*/ 771 w 3815"/>
                <a:gd name="T39" fmla="*/ 1262 h 1482"/>
                <a:gd name="T40" fmla="*/ 849 w 3815"/>
                <a:gd name="T41" fmla="*/ 1274 h 1482"/>
                <a:gd name="T42" fmla="*/ 804 w 3815"/>
                <a:gd name="T43" fmla="*/ 845 h 1482"/>
                <a:gd name="T44" fmla="*/ 1046 w 3815"/>
                <a:gd name="T45" fmla="*/ 1306 h 1482"/>
                <a:gd name="T46" fmla="*/ 928 w 3815"/>
                <a:gd name="T47" fmla="*/ 1453 h 1482"/>
                <a:gd name="T48" fmla="*/ 740 w 3815"/>
                <a:gd name="T49" fmla="*/ 1469 h 1482"/>
                <a:gd name="T50" fmla="*/ 601 w 3815"/>
                <a:gd name="T51" fmla="*/ 1343 h 1482"/>
                <a:gd name="T52" fmla="*/ 578 w 3815"/>
                <a:gd name="T53" fmla="*/ 220 h 1482"/>
                <a:gd name="T54" fmla="*/ 673 w 3815"/>
                <a:gd name="T55" fmla="*/ 54 h 1482"/>
                <a:gd name="T56" fmla="*/ 2998 w 3815"/>
                <a:gd name="T57" fmla="*/ 4 h 1482"/>
                <a:gd name="T58" fmla="*/ 3168 w 3815"/>
                <a:gd name="T59" fmla="*/ 79 h 1482"/>
                <a:gd name="T60" fmla="*/ 3239 w 3815"/>
                <a:gd name="T61" fmla="*/ 261 h 1482"/>
                <a:gd name="T62" fmla="*/ 3192 w 3815"/>
                <a:gd name="T63" fmla="*/ 1376 h 1482"/>
                <a:gd name="T64" fmla="*/ 3037 w 3815"/>
                <a:gd name="T65" fmla="*/ 1478 h 1482"/>
                <a:gd name="T66" fmla="*/ 2854 w 3815"/>
                <a:gd name="T67" fmla="*/ 1432 h 1482"/>
                <a:gd name="T68" fmla="*/ 2759 w 3815"/>
                <a:gd name="T69" fmla="*/ 1266 h 1482"/>
                <a:gd name="T70" fmla="*/ 2782 w 3815"/>
                <a:gd name="T71" fmla="*/ 143 h 1482"/>
                <a:gd name="T72" fmla="*/ 2921 w 3815"/>
                <a:gd name="T73" fmla="*/ 17 h 1482"/>
                <a:gd name="T74" fmla="*/ 1468 w 3815"/>
                <a:gd name="T75" fmla="*/ 14 h 1482"/>
                <a:gd name="T76" fmla="*/ 1606 w 3815"/>
                <a:gd name="T77" fmla="*/ 141 h 1482"/>
                <a:gd name="T78" fmla="*/ 1445 w 3815"/>
                <a:gd name="T79" fmla="*/ 1458 h 1482"/>
                <a:gd name="T80" fmla="*/ 1150 w 3815"/>
                <a:gd name="T81" fmla="*/ 259 h 1482"/>
                <a:gd name="T82" fmla="*/ 1220 w 3815"/>
                <a:gd name="T83" fmla="*/ 77 h 1482"/>
                <a:gd name="T84" fmla="*/ 1392 w 3815"/>
                <a:gd name="T85" fmla="*/ 2 h 1482"/>
                <a:gd name="T86" fmla="*/ 386 w 3815"/>
                <a:gd name="T87" fmla="*/ 51 h 1482"/>
                <a:gd name="T88" fmla="*/ 482 w 3815"/>
                <a:gd name="T89" fmla="*/ 217 h 1482"/>
                <a:gd name="T90" fmla="*/ 185 w 3815"/>
                <a:gd name="T91" fmla="*/ 845 h 1482"/>
                <a:gd name="T92" fmla="*/ 13 w 3815"/>
                <a:gd name="T93" fmla="*/ 178 h 1482"/>
                <a:gd name="T94" fmla="*/ 132 w 3815"/>
                <a:gd name="T95" fmla="*/ 31 h 1482"/>
                <a:gd name="T96" fmla="*/ 3573 w 3815"/>
                <a:gd name="T97" fmla="*/ 0 h 1482"/>
                <a:gd name="T98" fmla="*/ 3744 w 3815"/>
                <a:gd name="T99" fmla="*/ 76 h 1482"/>
                <a:gd name="T100" fmla="*/ 3815 w 3815"/>
                <a:gd name="T101" fmla="*/ 257 h 1482"/>
                <a:gd name="T102" fmla="*/ 3617 w 3815"/>
                <a:gd name="T103" fmla="*/ 221 h 1482"/>
                <a:gd name="T104" fmla="*/ 3539 w 3815"/>
                <a:gd name="T105" fmla="*/ 207 h 1482"/>
                <a:gd name="T106" fmla="*/ 3330 w 3815"/>
                <a:gd name="T107" fmla="*/ 1458 h 1482"/>
                <a:gd name="T108" fmla="*/ 3378 w 3815"/>
                <a:gd name="T109" fmla="*/ 105 h 1482"/>
                <a:gd name="T110" fmla="*/ 3533 w 3815"/>
                <a:gd name="T111" fmla="*/ 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5" h="1482">
                  <a:moveTo>
                    <a:pt x="2997" y="200"/>
                  </a:moveTo>
                  <a:lnTo>
                    <a:pt x="2979" y="203"/>
                  </a:lnTo>
                  <a:lnTo>
                    <a:pt x="2963" y="211"/>
                  </a:lnTo>
                  <a:lnTo>
                    <a:pt x="2951" y="224"/>
                  </a:lnTo>
                  <a:lnTo>
                    <a:pt x="2943" y="240"/>
                  </a:lnTo>
                  <a:lnTo>
                    <a:pt x="2941" y="259"/>
                  </a:lnTo>
                  <a:lnTo>
                    <a:pt x="2941" y="1227"/>
                  </a:lnTo>
                  <a:lnTo>
                    <a:pt x="2943" y="1245"/>
                  </a:lnTo>
                  <a:lnTo>
                    <a:pt x="2951" y="1262"/>
                  </a:lnTo>
                  <a:lnTo>
                    <a:pt x="2963" y="1274"/>
                  </a:lnTo>
                  <a:lnTo>
                    <a:pt x="2979" y="1282"/>
                  </a:lnTo>
                  <a:lnTo>
                    <a:pt x="2997" y="1286"/>
                  </a:lnTo>
                  <a:lnTo>
                    <a:pt x="3014" y="1282"/>
                  </a:lnTo>
                  <a:lnTo>
                    <a:pt x="3029" y="1274"/>
                  </a:lnTo>
                  <a:lnTo>
                    <a:pt x="3042" y="1262"/>
                  </a:lnTo>
                  <a:lnTo>
                    <a:pt x="3050" y="1245"/>
                  </a:lnTo>
                  <a:lnTo>
                    <a:pt x="3052" y="1227"/>
                  </a:lnTo>
                  <a:lnTo>
                    <a:pt x="3052" y="259"/>
                  </a:lnTo>
                  <a:lnTo>
                    <a:pt x="3050" y="240"/>
                  </a:lnTo>
                  <a:lnTo>
                    <a:pt x="3042" y="224"/>
                  </a:lnTo>
                  <a:lnTo>
                    <a:pt x="3029" y="211"/>
                  </a:lnTo>
                  <a:lnTo>
                    <a:pt x="3014" y="203"/>
                  </a:lnTo>
                  <a:lnTo>
                    <a:pt x="2997" y="200"/>
                  </a:lnTo>
                  <a:close/>
                  <a:moveTo>
                    <a:pt x="1389" y="195"/>
                  </a:moveTo>
                  <a:lnTo>
                    <a:pt x="1372" y="199"/>
                  </a:lnTo>
                  <a:lnTo>
                    <a:pt x="1356" y="207"/>
                  </a:lnTo>
                  <a:lnTo>
                    <a:pt x="1344" y="220"/>
                  </a:lnTo>
                  <a:lnTo>
                    <a:pt x="1336" y="236"/>
                  </a:lnTo>
                  <a:lnTo>
                    <a:pt x="1334" y="254"/>
                  </a:lnTo>
                  <a:lnTo>
                    <a:pt x="1334" y="652"/>
                  </a:lnTo>
                  <a:lnTo>
                    <a:pt x="1445" y="651"/>
                  </a:lnTo>
                  <a:lnTo>
                    <a:pt x="1445" y="254"/>
                  </a:lnTo>
                  <a:lnTo>
                    <a:pt x="1442" y="236"/>
                  </a:lnTo>
                  <a:lnTo>
                    <a:pt x="1435" y="220"/>
                  </a:lnTo>
                  <a:lnTo>
                    <a:pt x="1422" y="207"/>
                  </a:lnTo>
                  <a:lnTo>
                    <a:pt x="1407" y="199"/>
                  </a:lnTo>
                  <a:lnTo>
                    <a:pt x="1389" y="195"/>
                  </a:lnTo>
                  <a:close/>
                  <a:moveTo>
                    <a:pt x="241" y="195"/>
                  </a:moveTo>
                  <a:lnTo>
                    <a:pt x="224" y="199"/>
                  </a:lnTo>
                  <a:lnTo>
                    <a:pt x="207" y="207"/>
                  </a:lnTo>
                  <a:lnTo>
                    <a:pt x="196" y="220"/>
                  </a:lnTo>
                  <a:lnTo>
                    <a:pt x="188" y="236"/>
                  </a:lnTo>
                  <a:lnTo>
                    <a:pt x="185" y="254"/>
                  </a:lnTo>
                  <a:lnTo>
                    <a:pt x="185" y="652"/>
                  </a:lnTo>
                  <a:lnTo>
                    <a:pt x="297" y="651"/>
                  </a:lnTo>
                  <a:lnTo>
                    <a:pt x="297" y="254"/>
                  </a:lnTo>
                  <a:lnTo>
                    <a:pt x="294" y="236"/>
                  </a:lnTo>
                  <a:lnTo>
                    <a:pt x="286" y="220"/>
                  </a:lnTo>
                  <a:lnTo>
                    <a:pt x="273" y="207"/>
                  </a:lnTo>
                  <a:lnTo>
                    <a:pt x="258" y="199"/>
                  </a:lnTo>
                  <a:lnTo>
                    <a:pt x="241" y="195"/>
                  </a:lnTo>
                  <a:close/>
                  <a:moveTo>
                    <a:pt x="2192" y="29"/>
                  </a:moveTo>
                  <a:lnTo>
                    <a:pt x="2378" y="29"/>
                  </a:lnTo>
                  <a:lnTo>
                    <a:pt x="2378" y="648"/>
                  </a:lnTo>
                  <a:lnTo>
                    <a:pt x="2477" y="648"/>
                  </a:lnTo>
                  <a:lnTo>
                    <a:pt x="2477" y="29"/>
                  </a:lnTo>
                  <a:lnTo>
                    <a:pt x="2665" y="29"/>
                  </a:lnTo>
                  <a:lnTo>
                    <a:pt x="2665" y="1458"/>
                  </a:lnTo>
                  <a:lnTo>
                    <a:pt x="2477" y="1458"/>
                  </a:lnTo>
                  <a:lnTo>
                    <a:pt x="2477" y="842"/>
                  </a:lnTo>
                  <a:lnTo>
                    <a:pt x="2379" y="842"/>
                  </a:lnTo>
                  <a:lnTo>
                    <a:pt x="2379" y="1458"/>
                  </a:lnTo>
                  <a:lnTo>
                    <a:pt x="2192" y="1458"/>
                  </a:lnTo>
                  <a:lnTo>
                    <a:pt x="2192" y="29"/>
                  </a:lnTo>
                  <a:close/>
                  <a:moveTo>
                    <a:pt x="1677" y="29"/>
                  </a:moveTo>
                  <a:lnTo>
                    <a:pt x="2128" y="29"/>
                  </a:lnTo>
                  <a:lnTo>
                    <a:pt x="2128" y="216"/>
                  </a:lnTo>
                  <a:lnTo>
                    <a:pt x="1998" y="216"/>
                  </a:lnTo>
                  <a:lnTo>
                    <a:pt x="1998" y="1458"/>
                  </a:lnTo>
                  <a:lnTo>
                    <a:pt x="1810" y="1458"/>
                  </a:lnTo>
                  <a:lnTo>
                    <a:pt x="1810" y="215"/>
                  </a:lnTo>
                  <a:lnTo>
                    <a:pt x="1677" y="215"/>
                  </a:lnTo>
                  <a:lnTo>
                    <a:pt x="1677" y="29"/>
                  </a:lnTo>
                  <a:close/>
                  <a:moveTo>
                    <a:pt x="817" y="5"/>
                  </a:moveTo>
                  <a:lnTo>
                    <a:pt x="856" y="9"/>
                  </a:lnTo>
                  <a:lnTo>
                    <a:pt x="893" y="18"/>
                  </a:lnTo>
                  <a:lnTo>
                    <a:pt x="928" y="33"/>
                  </a:lnTo>
                  <a:lnTo>
                    <a:pt x="959" y="54"/>
                  </a:lnTo>
                  <a:lnTo>
                    <a:pt x="987" y="80"/>
                  </a:lnTo>
                  <a:lnTo>
                    <a:pt x="1012" y="109"/>
                  </a:lnTo>
                  <a:lnTo>
                    <a:pt x="1031" y="144"/>
                  </a:lnTo>
                  <a:lnTo>
                    <a:pt x="1046" y="180"/>
                  </a:lnTo>
                  <a:lnTo>
                    <a:pt x="1056" y="220"/>
                  </a:lnTo>
                  <a:lnTo>
                    <a:pt x="1059" y="261"/>
                  </a:lnTo>
                  <a:lnTo>
                    <a:pt x="1059" y="510"/>
                  </a:lnTo>
                  <a:lnTo>
                    <a:pt x="871" y="510"/>
                  </a:lnTo>
                  <a:lnTo>
                    <a:pt x="871" y="260"/>
                  </a:lnTo>
                  <a:lnTo>
                    <a:pt x="869" y="242"/>
                  </a:lnTo>
                  <a:lnTo>
                    <a:pt x="861" y="225"/>
                  </a:lnTo>
                  <a:lnTo>
                    <a:pt x="848" y="211"/>
                  </a:lnTo>
                  <a:lnTo>
                    <a:pt x="833" y="203"/>
                  </a:lnTo>
                  <a:lnTo>
                    <a:pt x="816" y="201"/>
                  </a:lnTo>
                  <a:lnTo>
                    <a:pt x="798" y="203"/>
                  </a:lnTo>
                  <a:lnTo>
                    <a:pt x="783" y="211"/>
                  </a:lnTo>
                  <a:lnTo>
                    <a:pt x="771" y="225"/>
                  </a:lnTo>
                  <a:lnTo>
                    <a:pt x="762" y="242"/>
                  </a:lnTo>
                  <a:lnTo>
                    <a:pt x="760" y="260"/>
                  </a:lnTo>
                  <a:lnTo>
                    <a:pt x="760" y="1227"/>
                  </a:lnTo>
                  <a:lnTo>
                    <a:pt x="762" y="1245"/>
                  </a:lnTo>
                  <a:lnTo>
                    <a:pt x="771" y="1262"/>
                  </a:lnTo>
                  <a:lnTo>
                    <a:pt x="783" y="1274"/>
                  </a:lnTo>
                  <a:lnTo>
                    <a:pt x="798" y="1284"/>
                  </a:lnTo>
                  <a:lnTo>
                    <a:pt x="816" y="1286"/>
                  </a:lnTo>
                  <a:lnTo>
                    <a:pt x="833" y="1284"/>
                  </a:lnTo>
                  <a:lnTo>
                    <a:pt x="849" y="1274"/>
                  </a:lnTo>
                  <a:lnTo>
                    <a:pt x="861" y="1262"/>
                  </a:lnTo>
                  <a:lnTo>
                    <a:pt x="869" y="1245"/>
                  </a:lnTo>
                  <a:lnTo>
                    <a:pt x="871" y="1227"/>
                  </a:lnTo>
                  <a:lnTo>
                    <a:pt x="871" y="845"/>
                  </a:lnTo>
                  <a:lnTo>
                    <a:pt x="804" y="845"/>
                  </a:lnTo>
                  <a:lnTo>
                    <a:pt x="804" y="655"/>
                  </a:lnTo>
                  <a:lnTo>
                    <a:pt x="1059" y="655"/>
                  </a:lnTo>
                  <a:lnTo>
                    <a:pt x="1059" y="1225"/>
                  </a:lnTo>
                  <a:lnTo>
                    <a:pt x="1056" y="1266"/>
                  </a:lnTo>
                  <a:lnTo>
                    <a:pt x="1046" y="1306"/>
                  </a:lnTo>
                  <a:lnTo>
                    <a:pt x="1031" y="1343"/>
                  </a:lnTo>
                  <a:lnTo>
                    <a:pt x="1012" y="1376"/>
                  </a:lnTo>
                  <a:lnTo>
                    <a:pt x="988" y="1407"/>
                  </a:lnTo>
                  <a:lnTo>
                    <a:pt x="959" y="1432"/>
                  </a:lnTo>
                  <a:lnTo>
                    <a:pt x="928" y="1453"/>
                  </a:lnTo>
                  <a:lnTo>
                    <a:pt x="893" y="1469"/>
                  </a:lnTo>
                  <a:lnTo>
                    <a:pt x="856" y="1478"/>
                  </a:lnTo>
                  <a:lnTo>
                    <a:pt x="817" y="1482"/>
                  </a:lnTo>
                  <a:lnTo>
                    <a:pt x="778" y="1478"/>
                  </a:lnTo>
                  <a:lnTo>
                    <a:pt x="740" y="1469"/>
                  </a:lnTo>
                  <a:lnTo>
                    <a:pt x="706" y="1453"/>
                  </a:lnTo>
                  <a:lnTo>
                    <a:pt x="674" y="1432"/>
                  </a:lnTo>
                  <a:lnTo>
                    <a:pt x="645" y="1407"/>
                  </a:lnTo>
                  <a:lnTo>
                    <a:pt x="621" y="1376"/>
                  </a:lnTo>
                  <a:lnTo>
                    <a:pt x="601" y="1343"/>
                  </a:lnTo>
                  <a:lnTo>
                    <a:pt x="588" y="1306"/>
                  </a:lnTo>
                  <a:lnTo>
                    <a:pt x="578" y="1266"/>
                  </a:lnTo>
                  <a:lnTo>
                    <a:pt x="575" y="1225"/>
                  </a:lnTo>
                  <a:lnTo>
                    <a:pt x="575" y="261"/>
                  </a:lnTo>
                  <a:lnTo>
                    <a:pt x="578" y="220"/>
                  </a:lnTo>
                  <a:lnTo>
                    <a:pt x="588" y="180"/>
                  </a:lnTo>
                  <a:lnTo>
                    <a:pt x="601" y="144"/>
                  </a:lnTo>
                  <a:lnTo>
                    <a:pt x="621" y="109"/>
                  </a:lnTo>
                  <a:lnTo>
                    <a:pt x="645" y="80"/>
                  </a:lnTo>
                  <a:lnTo>
                    <a:pt x="673" y="54"/>
                  </a:lnTo>
                  <a:lnTo>
                    <a:pt x="706" y="33"/>
                  </a:lnTo>
                  <a:lnTo>
                    <a:pt x="740" y="18"/>
                  </a:lnTo>
                  <a:lnTo>
                    <a:pt x="778" y="9"/>
                  </a:lnTo>
                  <a:lnTo>
                    <a:pt x="817" y="5"/>
                  </a:lnTo>
                  <a:close/>
                  <a:moveTo>
                    <a:pt x="2998" y="4"/>
                  </a:moveTo>
                  <a:lnTo>
                    <a:pt x="3036" y="7"/>
                  </a:lnTo>
                  <a:lnTo>
                    <a:pt x="3074" y="17"/>
                  </a:lnTo>
                  <a:lnTo>
                    <a:pt x="3109" y="33"/>
                  </a:lnTo>
                  <a:lnTo>
                    <a:pt x="3140" y="54"/>
                  </a:lnTo>
                  <a:lnTo>
                    <a:pt x="3168" y="79"/>
                  </a:lnTo>
                  <a:lnTo>
                    <a:pt x="3192" y="109"/>
                  </a:lnTo>
                  <a:lnTo>
                    <a:pt x="3212" y="143"/>
                  </a:lnTo>
                  <a:lnTo>
                    <a:pt x="3227" y="180"/>
                  </a:lnTo>
                  <a:lnTo>
                    <a:pt x="3236" y="220"/>
                  </a:lnTo>
                  <a:lnTo>
                    <a:pt x="3239" y="261"/>
                  </a:lnTo>
                  <a:lnTo>
                    <a:pt x="3240" y="1225"/>
                  </a:lnTo>
                  <a:lnTo>
                    <a:pt x="3236" y="1266"/>
                  </a:lnTo>
                  <a:lnTo>
                    <a:pt x="3227" y="1306"/>
                  </a:lnTo>
                  <a:lnTo>
                    <a:pt x="3212" y="1343"/>
                  </a:lnTo>
                  <a:lnTo>
                    <a:pt x="3192" y="1376"/>
                  </a:lnTo>
                  <a:lnTo>
                    <a:pt x="3168" y="1407"/>
                  </a:lnTo>
                  <a:lnTo>
                    <a:pt x="3140" y="1432"/>
                  </a:lnTo>
                  <a:lnTo>
                    <a:pt x="3109" y="1453"/>
                  </a:lnTo>
                  <a:lnTo>
                    <a:pt x="3074" y="1468"/>
                  </a:lnTo>
                  <a:lnTo>
                    <a:pt x="3037" y="1478"/>
                  </a:lnTo>
                  <a:lnTo>
                    <a:pt x="2998" y="1482"/>
                  </a:lnTo>
                  <a:lnTo>
                    <a:pt x="2958" y="1478"/>
                  </a:lnTo>
                  <a:lnTo>
                    <a:pt x="2921" y="1468"/>
                  </a:lnTo>
                  <a:lnTo>
                    <a:pt x="2887" y="1453"/>
                  </a:lnTo>
                  <a:lnTo>
                    <a:pt x="2854" y="1432"/>
                  </a:lnTo>
                  <a:lnTo>
                    <a:pt x="2826" y="1407"/>
                  </a:lnTo>
                  <a:lnTo>
                    <a:pt x="2802" y="1376"/>
                  </a:lnTo>
                  <a:lnTo>
                    <a:pt x="2782" y="1343"/>
                  </a:lnTo>
                  <a:lnTo>
                    <a:pt x="2767" y="1306"/>
                  </a:lnTo>
                  <a:lnTo>
                    <a:pt x="2759" y="1266"/>
                  </a:lnTo>
                  <a:lnTo>
                    <a:pt x="2756" y="1225"/>
                  </a:lnTo>
                  <a:lnTo>
                    <a:pt x="2756" y="261"/>
                  </a:lnTo>
                  <a:lnTo>
                    <a:pt x="2758" y="220"/>
                  </a:lnTo>
                  <a:lnTo>
                    <a:pt x="2767" y="180"/>
                  </a:lnTo>
                  <a:lnTo>
                    <a:pt x="2782" y="143"/>
                  </a:lnTo>
                  <a:lnTo>
                    <a:pt x="2802" y="109"/>
                  </a:lnTo>
                  <a:lnTo>
                    <a:pt x="2826" y="79"/>
                  </a:lnTo>
                  <a:lnTo>
                    <a:pt x="2854" y="54"/>
                  </a:lnTo>
                  <a:lnTo>
                    <a:pt x="2887" y="33"/>
                  </a:lnTo>
                  <a:lnTo>
                    <a:pt x="2921" y="17"/>
                  </a:lnTo>
                  <a:lnTo>
                    <a:pt x="2958" y="7"/>
                  </a:lnTo>
                  <a:lnTo>
                    <a:pt x="2998" y="4"/>
                  </a:lnTo>
                  <a:close/>
                  <a:moveTo>
                    <a:pt x="1392" y="2"/>
                  </a:moveTo>
                  <a:lnTo>
                    <a:pt x="1430" y="5"/>
                  </a:lnTo>
                  <a:lnTo>
                    <a:pt x="1468" y="14"/>
                  </a:lnTo>
                  <a:lnTo>
                    <a:pt x="1502" y="31"/>
                  </a:lnTo>
                  <a:lnTo>
                    <a:pt x="1534" y="51"/>
                  </a:lnTo>
                  <a:lnTo>
                    <a:pt x="1562" y="77"/>
                  </a:lnTo>
                  <a:lnTo>
                    <a:pt x="1586" y="107"/>
                  </a:lnTo>
                  <a:lnTo>
                    <a:pt x="1606" y="141"/>
                  </a:lnTo>
                  <a:lnTo>
                    <a:pt x="1621" y="178"/>
                  </a:lnTo>
                  <a:lnTo>
                    <a:pt x="1630" y="217"/>
                  </a:lnTo>
                  <a:lnTo>
                    <a:pt x="1633" y="259"/>
                  </a:lnTo>
                  <a:lnTo>
                    <a:pt x="1633" y="1458"/>
                  </a:lnTo>
                  <a:lnTo>
                    <a:pt x="1445" y="1458"/>
                  </a:lnTo>
                  <a:lnTo>
                    <a:pt x="1445" y="845"/>
                  </a:lnTo>
                  <a:lnTo>
                    <a:pt x="1334" y="845"/>
                  </a:lnTo>
                  <a:lnTo>
                    <a:pt x="1334" y="1458"/>
                  </a:lnTo>
                  <a:lnTo>
                    <a:pt x="1148" y="1458"/>
                  </a:lnTo>
                  <a:lnTo>
                    <a:pt x="1150" y="259"/>
                  </a:lnTo>
                  <a:lnTo>
                    <a:pt x="1152" y="217"/>
                  </a:lnTo>
                  <a:lnTo>
                    <a:pt x="1161" y="178"/>
                  </a:lnTo>
                  <a:lnTo>
                    <a:pt x="1176" y="141"/>
                  </a:lnTo>
                  <a:lnTo>
                    <a:pt x="1196" y="107"/>
                  </a:lnTo>
                  <a:lnTo>
                    <a:pt x="1220" y="77"/>
                  </a:lnTo>
                  <a:lnTo>
                    <a:pt x="1248" y="51"/>
                  </a:lnTo>
                  <a:lnTo>
                    <a:pt x="1280" y="31"/>
                  </a:lnTo>
                  <a:lnTo>
                    <a:pt x="1314" y="14"/>
                  </a:lnTo>
                  <a:lnTo>
                    <a:pt x="1352" y="5"/>
                  </a:lnTo>
                  <a:lnTo>
                    <a:pt x="1392" y="2"/>
                  </a:lnTo>
                  <a:close/>
                  <a:moveTo>
                    <a:pt x="243" y="2"/>
                  </a:moveTo>
                  <a:lnTo>
                    <a:pt x="282" y="5"/>
                  </a:lnTo>
                  <a:lnTo>
                    <a:pt x="320" y="14"/>
                  </a:lnTo>
                  <a:lnTo>
                    <a:pt x="355" y="31"/>
                  </a:lnTo>
                  <a:lnTo>
                    <a:pt x="386" y="51"/>
                  </a:lnTo>
                  <a:lnTo>
                    <a:pt x="414" y="77"/>
                  </a:lnTo>
                  <a:lnTo>
                    <a:pt x="438" y="107"/>
                  </a:lnTo>
                  <a:lnTo>
                    <a:pt x="458" y="141"/>
                  </a:lnTo>
                  <a:lnTo>
                    <a:pt x="473" y="178"/>
                  </a:lnTo>
                  <a:lnTo>
                    <a:pt x="482" y="217"/>
                  </a:lnTo>
                  <a:lnTo>
                    <a:pt x="484" y="259"/>
                  </a:lnTo>
                  <a:lnTo>
                    <a:pt x="484" y="1458"/>
                  </a:lnTo>
                  <a:lnTo>
                    <a:pt x="297" y="1458"/>
                  </a:lnTo>
                  <a:lnTo>
                    <a:pt x="297" y="845"/>
                  </a:lnTo>
                  <a:lnTo>
                    <a:pt x="185" y="845"/>
                  </a:lnTo>
                  <a:lnTo>
                    <a:pt x="185" y="1458"/>
                  </a:lnTo>
                  <a:lnTo>
                    <a:pt x="0" y="1458"/>
                  </a:lnTo>
                  <a:lnTo>
                    <a:pt x="1" y="259"/>
                  </a:lnTo>
                  <a:lnTo>
                    <a:pt x="3" y="217"/>
                  </a:lnTo>
                  <a:lnTo>
                    <a:pt x="13" y="178"/>
                  </a:lnTo>
                  <a:lnTo>
                    <a:pt x="28" y="141"/>
                  </a:lnTo>
                  <a:lnTo>
                    <a:pt x="48" y="107"/>
                  </a:lnTo>
                  <a:lnTo>
                    <a:pt x="72" y="77"/>
                  </a:lnTo>
                  <a:lnTo>
                    <a:pt x="100" y="51"/>
                  </a:lnTo>
                  <a:lnTo>
                    <a:pt x="132" y="31"/>
                  </a:lnTo>
                  <a:lnTo>
                    <a:pt x="167" y="14"/>
                  </a:lnTo>
                  <a:lnTo>
                    <a:pt x="204" y="5"/>
                  </a:lnTo>
                  <a:lnTo>
                    <a:pt x="243" y="2"/>
                  </a:lnTo>
                  <a:close/>
                  <a:moveTo>
                    <a:pt x="3573" y="0"/>
                  </a:moveTo>
                  <a:lnTo>
                    <a:pt x="3573" y="0"/>
                  </a:lnTo>
                  <a:lnTo>
                    <a:pt x="3612" y="4"/>
                  </a:lnTo>
                  <a:lnTo>
                    <a:pt x="3649" y="13"/>
                  </a:lnTo>
                  <a:lnTo>
                    <a:pt x="3684" y="28"/>
                  </a:lnTo>
                  <a:lnTo>
                    <a:pt x="3716" y="49"/>
                  </a:lnTo>
                  <a:lnTo>
                    <a:pt x="3744" y="76"/>
                  </a:lnTo>
                  <a:lnTo>
                    <a:pt x="3768" y="105"/>
                  </a:lnTo>
                  <a:lnTo>
                    <a:pt x="3788" y="140"/>
                  </a:lnTo>
                  <a:lnTo>
                    <a:pt x="3802" y="175"/>
                  </a:lnTo>
                  <a:lnTo>
                    <a:pt x="3811" y="215"/>
                  </a:lnTo>
                  <a:lnTo>
                    <a:pt x="3815" y="257"/>
                  </a:lnTo>
                  <a:lnTo>
                    <a:pt x="3815" y="1458"/>
                  </a:lnTo>
                  <a:lnTo>
                    <a:pt x="3629" y="1458"/>
                  </a:lnTo>
                  <a:lnTo>
                    <a:pt x="3628" y="255"/>
                  </a:lnTo>
                  <a:lnTo>
                    <a:pt x="3625" y="237"/>
                  </a:lnTo>
                  <a:lnTo>
                    <a:pt x="3617" y="221"/>
                  </a:lnTo>
                  <a:lnTo>
                    <a:pt x="3605" y="207"/>
                  </a:lnTo>
                  <a:lnTo>
                    <a:pt x="3590" y="199"/>
                  </a:lnTo>
                  <a:lnTo>
                    <a:pt x="3571" y="196"/>
                  </a:lnTo>
                  <a:lnTo>
                    <a:pt x="3554" y="199"/>
                  </a:lnTo>
                  <a:lnTo>
                    <a:pt x="3539" y="207"/>
                  </a:lnTo>
                  <a:lnTo>
                    <a:pt x="3527" y="221"/>
                  </a:lnTo>
                  <a:lnTo>
                    <a:pt x="3519" y="237"/>
                  </a:lnTo>
                  <a:lnTo>
                    <a:pt x="3516" y="255"/>
                  </a:lnTo>
                  <a:lnTo>
                    <a:pt x="3516" y="1458"/>
                  </a:lnTo>
                  <a:lnTo>
                    <a:pt x="3330" y="1458"/>
                  </a:lnTo>
                  <a:lnTo>
                    <a:pt x="3330" y="257"/>
                  </a:lnTo>
                  <a:lnTo>
                    <a:pt x="3334" y="215"/>
                  </a:lnTo>
                  <a:lnTo>
                    <a:pt x="3343" y="175"/>
                  </a:lnTo>
                  <a:lnTo>
                    <a:pt x="3358" y="140"/>
                  </a:lnTo>
                  <a:lnTo>
                    <a:pt x="3378" y="105"/>
                  </a:lnTo>
                  <a:lnTo>
                    <a:pt x="3402" y="76"/>
                  </a:lnTo>
                  <a:lnTo>
                    <a:pt x="3430" y="49"/>
                  </a:lnTo>
                  <a:lnTo>
                    <a:pt x="3461" y="28"/>
                  </a:lnTo>
                  <a:lnTo>
                    <a:pt x="3496" y="13"/>
                  </a:lnTo>
                  <a:lnTo>
                    <a:pt x="3533" y="4"/>
                  </a:lnTo>
                  <a:lnTo>
                    <a:pt x="35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28" name="Rectangle 24"/>
            <p:cNvSpPr>
              <a:spLocks noChangeArrowheads="1"/>
            </p:cNvSpPr>
            <p:nvPr userDrawn="1"/>
          </p:nvSpPr>
          <p:spPr bwMode="auto">
            <a:xfrm>
              <a:off x="5810250" y="3795713"/>
              <a:ext cx="3027363" cy="16986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29" name="Freeform 25"/>
            <p:cNvSpPr>
              <a:spLocks/>
            </p:cNvSpPr>
            <p:nvPr userDrawn="1"/>
          </p:nvSpPr>
          <p:spPr bwMode="auto">
            <a:xfrm>
              <a:off x="5810250" y="4092576"/>
              <a:ext cx="100013" cy="134938"/>
            </a:xfrm>
            <a:custGeom>
              <a:avLst/>
              <a:gdLst>
                <a:gd name="T0" fmla="*/ 78 w 125"/>
                <a:gd name="T1" fmla="*/ 1 h 170"/>
                <a:gd name="T2" fmla="*/ 103 w 125"/>
                <a:gd name="T3" fmla="*/ 14 h 170"/>
                <a:gd name="T4" fmla="*/ 118 w 125"/>
                <a:gd name="T5" fmla="*/ 37 h 170"/>
                <a:gd name="T6" fmla="*/ 94 w 125"/>
                <a:gd name="T7" fmla="*/ 52 h 170"/>
                <a:gd name="T8" fmla="*/ 87 w 125"/>
                <a:gd name="T9" fmla="*/ 32 h 170"/>
                <a:gd name="T10" fmla="*/ 71 w 125"/>
                <a:gd name="T11" fmla="*/ 24 h 170"/>
                <a:gd name="T12" fmla="*/ 53 w 125"/>
                <a:gd name="T13" fmla="*/ 24 h 170"/>
                <a:gd name="T14" fmla="*/ 39 w 125"/>
                <a:gd name="T15" fmla="*/ 30 h 170"/>
                <a:gd name="T16" fmla="*/ 32 w 125"/>
                <a:gd name="T17" fmla="*/ 45 h 170"/>
                <a:gd name="T18" fmla="*/ 42 w 125"/>
                <a:gd name="T19" fmla="*/ 61 h 170"/>
                <a:gd name="T20" fmla="*/ 54 w 125"/>
                <a:gd name="T21" fmla="*/ 67 h 170"/>
                <a:gd name="T22" fmla="*/ 71 w 125"/>
                <a:gd name="T23" fmla="*/ 70 h 170"/>
                <a:gd name="T24" fmla="*/ 89 w 125"/>
                <a:gd name="T25" fmla="*/ 76 h 170"/>
                <a:gd name="T26" fmla="*/ 108 w 125"/>
                <a:gd name="T27" fmla="*/ 84 h 170"/>
                <a:gd name="T28" fmla="*/ 123 w 125"/>
                <a:gd name="T29" fmla="*/ 106 h 170"/>
                <a:gd name="T30" fmla="*/ 123 w 125"/>
                <a:gd name="T31" fmla="*/ 135 h 170"/>
                <a:gd name="T32" fmla="*/ 105 w 125"/>
                <a:gd name="T33" fmla="*/ 158 h 170"/>
                <a:gd name="T34" fmla="*/ 79 w 125"/>
                <a:gd name="T35" fmla="*/ 169 h 170"/>
                <a:gd name="T36" fmla="*/ 48 w 125"/>
                <a:gd name="T37" fmla="*/ 169 h 170"/>
                <a:gd name="T38" fmla="*/ 19 w 125"/>
                <a:gd name="T39" fmla="*/ 156 h 170"/>
                <a:gd name="T40" fmla="*/ 2 w 125"/>
                <a:gd name="T41" fmla="*/ 131 h 170"/>
                <a:gd name="T42" fmla="*/ 0 w 125"/>
                <a:gd name="T43" fmla="*/ 112 h 170"/>
                <a:gd name="T44" fmla="*/ 29 w 125"/>
                <a:gd name="T45" fmla="*/ 126 h 170"/>
                <a:gd name="T46" fmla="*/ 43 w 125"/>
                <a:gd name="T47" fmla="*/ 142 h 170"/>
                <a:gd name="T48" fmla="*/ 66 w 125"/>
                <a:gd name="T49" fmla="*/ 147 h 170"/>
                <a:gd name="T50" fmla="*/ 87 w 125"/>
                <a:gd name="T51" fmla="*/ 142 h 170"/>
                <a:gd name="T52" fmla="*/ 97 w 125"/>
                <a:gd name="T53" fmla="*/ 129 h 170"/>
                <a:gd name="T54" fmla="*/ 97 w 125"/>
                <a:gd name="T55" fmla="*/ 114 h 170"/>
                <a:gd name="T56" fmla="*/ 90 w 125"/>
                <a:gd name="T57" fmla="*/ 105 h 170"/>
                <a:gd name="T58" fmla="*/ 73 w 125"/>
                <a:gd name="T59" fmla="*/ 98 h 170"/>
                <a:gd name="T60" fmla="*/ 39 w 125"/>
                <a:gd name="T61" fmla="*/ 89 h 170"/>
                <a:gd name="T62" fmla="*/ 16 w 125"/>
                <a:gd name="T63" fmla="*/ 76 h 170"/>
                <a:gd name="T64" fmla="*/ 7 w 125"/>
                <a:gd name="T65" fmla="*/ 58 h 170"/>
                <a:gd name="T66" fmla="*/ 8 w 125"/>
                <a:gd name="T67" fmla="*/ 33 h 170"/>
                <a:gd name="T68" fmla="*/ 23 w 125"/>
                <a:gd name="T69" fmla="*/ 11 h 170"/>
                <a:gd name="T70" fmla="*/ 48 w 125"/>
                <a:gd name="T71" fmla="*/ 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70">
                  <a:moveTo>
                    <a:pt x="61" y="0"/>
                  </a:moveTo>
                  <a:lnTo>
                    <a:pt x="78" y="1"/>
                  </a:lnTo>
                  <a:lnTo>
                    <a:pt x="92" y="5"/>
                  </a:lnTo>
                  <a:lnTo>
                    <a:pt x="103" y="14"/>
                  </a:lnTo>
                  <a:lnTo>
                    <a:pt x="112" y="23"/>
                  </a:lnTo>
                  <a:lnTo>
                    <a:pt x="118" y="37"/>
                  </a:lnTo>
                  <a:lnTo>
                    <a:pt x="121" y="52"/>
                  </a:lnTo>
                  <a:lnTo>
                    <a:pt x="94" y="52"/>
                  </a:lnTo>
                  <a:lnTo>
                    <a:pt x="92" y="41"/>
                  </a:lnTo>
                  <a:lnTo>
                    <a:pt x="87" y="32"/>
                  </a:lnTo>
                  <a:lnTo>
                    <a:pt x="80" y="27"/>
                  </a:lnTo>
                  <a:lnTo>
                    <a:pt x="71" y="24"/>
                  </a:lnTo>
                  <a:lnTo>
                    <a:pt x="60" y="23"/>
                  </a:lnTo>
                  <a:lnTo>
                    <a:pt x="53" y="24"/>
                  </a:lnTo>
                  <a:lnTo>
                    <a:pt x="45" y="26"/>
                  </a:lnTo>
                  <a:lnTo>
                    <a:pt x="39" y="30"/>
                  </a:lnTo>
                  <a:lnTo>
                    <a:pt x="35" y="36"/>
                  </a:lnTo>
                  <a:lnTo>
                    <a:pt x="32" y="45"/>
                  </a:lnTo>
                  <a:lnTo>
                    <a:pt x="35" y="54"/>
                  </a:lnTo>
                  <a:lnTo>
                    <a:pt x="42" y="61"/>
                  </a:lnTo>
                  <a:lnTo>
                    <a:pt x="51" y="66"/>
                  </a:lnTo>
                  <a:lnTo>
                    <a:pt x="54" y="67"/>
                  </a:lnTo>
                  <a:lnTo>
                    <a:pt x="61" y="68"/>
                  </a:lnTo>
                  <a:lnTo>
                    <a:pt x="71" y="70"/>
                  </a:lnTo>
                  <a:lnTo>
                    <a:pt x="81" y="74"/>
                  </a:lnTo>
                  <a:lnTo>
                    <a:pt x="89" y="76"/>
                  </a:lnTo>
                  <a:lnTo>
                    <a:pt x="95" y="77"/>
                  </a:lnTo>
                  <a:lnTo>
                    <a:pt x="108" y="84"/>
                  </a:lnTo>
                  <a:lnTo>
                    <a:pt x="118" y="95"/>
                  </a:lnTo>
                  <a:lnTo>
                    <a:pt x="123" y="106"/>
                  </a:lnTo>
                  <a:lnTo>
                    <a:pt x="125" y="119"/>
                  </a:lnTo>
                  <a:lnTo>
                    <a:pt x="123" y="135"/>
                  </a:lnTo>
                  <a:lnTo>
                    <a:pt x="116" y="149"/>
                  </a:lnTo>
                  <a:lnTo>
                    <a:pt x="105" y="158"/>
                  </a:lnTo>
                  <a:lnTo>
                    <a:pt x="94" y="165"/>
                  </a:lnTo>
                  <a:lnTo>
                    <a:pt x="79" y="169"/>
                  </a:lnTo>
                  <a:lnTo>
                    <a:pt x="64" y="170"/>
                  </a:lnTo>
                  <a:lnTo>
                    <a:pt x="48" y="169"/>
                  </a:lnTo>
                  <a:lnTo>
                    <a:pt x="32" y="164"/>
                  </a:lnTo>
                  <a:lnTo>
                    <a:pt x="19" y="156"/>
                  </a:lnTo>
                  <a:lnTo>
                    <a:pt x="9" y="146"/>
                  </a:lnTo>
                  <a:lnTo>
                    <a:pt x="2" y="131"/>
                  </a:lnTo>
                  <a:lnTo>
                    <a:pt x="0" y="112"/>
                  </a:lnTo>
                  <a:lnTo>
                    <a:pt x="0" y="112"/>
                  </a:lnTo>
                  <a:lnTo>
                    <a:pt x="27" y="112"/>
                  </a:lnTo>
                  <a:lnTo>
                    <a:pt x="29" y="126"/>
                  </a:lnTo>
                  <a:lnTo>
                    <a:pt x="35" y="135"/>
                  </a:lnTo>
                  <a:lnTo>
                    <a:pt x="43" y="142"/>
                  </a:lnTo>
                  <a:lnTo>
                    <a:pt x="53" y="146"/>
                  </a:lnTo>
                  <a:lnTo>
                    <a:pt x="66" y="147"/>
                  </a:lnTo>
                  <a:lnTo>
                    <a:pt x="78" y="146"/>
                  </a:lnTo>
                  <a:lnTo>
                    <a:pt x="87" y="142"/>
                  </a:lnTo>
                  <a:lnTo>
                    <a:pt x="94" y="136"/>
                  </a:lnTo>
                  <a:lnTo>
                    <a:pt x="97" y="129"/>
                  </a:lnTo>
                  <a:lnTo>
                    <a:pt x="98" y="122"/>
                  </a:lnTo>
                  <a:lnTo>
                    <a:pt x="97" y="114"/>
                  </a:lnTo>
                  <a:lnTo>
                    <a:pt x="94" y="109"/>
                  </a:lnTo>
                  <a:lnTo>
                    <a:pt x="90" y="105"/>
                  </a:lnTo>
                  <a:lnTo>
                    <a:pt x="86" y="103"/>
                  </a:lnTo>
                  <a:lnTo>
                    <a:pt x="73" y="98"/>
                  </a:lnTo>
                  <a:lnTo>
                    <a:pt x="59" y="95"/>
                  </a:lnTo>
                  <a:lnTo>
                    <a:pt x="39" y="89"/>
                  </a:lnTo>
                  <a:lnTo>
                    <a:pt x="27" y="83"/>
                  </a:lnTo>
                  <a:lnTo>
                    <a:pt x="16" y="76"/>
                  </a:lnTo>
                  <a:lnTo>
                    <a:pt x="10" y="67"/>
                  </a:lnTo>
                  <a:lnTo>
                    <a:pt x="7" y="58"/>
                  </a:lnTo>
                  <a:lnTo>
                    <a:pt x="6" y="47"/>
                  </a:lnTo>
                  <a:lnTo>
                    <a:pt x="8" y="33"/>
                  </a:lnTo>
                  <a:lnTo>
                    <a:pt x="14" y="20"/>
                  </a:lnTo>
                  <a:lnTo>
                    <a:pt x="23" y="11"/>
                  </a:lnTo>
                  <a:lnTo>
                    <a:pt x="35" y="5"/>
                  </a:lnTo>
                  <a:lnTo>
                    <a:pt x="48" y="1"/>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0" name="Freeform 26"/>
            <p:cNvSpPr>
              <a:spLocks/>
            </p:cNvSpPr>
            <p:nvPr userDrawn="1"/>
          </p:nvSpPr>
          <p:spPr bwMode="auto">
            <a:xfrm>
              <a:off x="6097588" y="4095751"/>
              <a:ext cx="160338" cy="128588"/>
            </a:xfrm>
            <a:custGeom>
              <a:avLst/>
              <a:gdLst>
                <a:gd name="T0" fmla="*/ 0 w 200"/>
                <a:gd name="T1" fmla="*/ 0 h 164"/>
                <a:gd name="T2" fmla="*/ 28 w 200"/>
                <a:gd name="T3" fmla="*/ 0 h 164"/>
                <a:gd name="T4" fmla="*/ 54 w 200"/>
                <a:gd name="T5" fmla="*/ 125 h 164"/>
                <a:gd name="T6" fmla="*/ 55 w 200"/>
                <a:gd name="T7" fmla="*/ 125 h 164"/>
                <a:gd name="T8" fmla="*/ 85 w 200"/>
                <a:gd name="T9" fmla="*/ 0 h 164"/>
                <a:gd name="T10" fmla="*/ 113 w 200"/>
                <a:gd name="T11" fmla="*/ 0 h 164"/>
                <a:gd name="T12" fmla="*/ 143 w 200"/>
                <a:gd name="T13" fmla="*/ 125 h 164"/>
                <a:gd name="T14" fmla="*/ 145 w 200"/>
                <a:gd name="T15" fmla="*/ 125 h 164"/>
                <a:gd name="T16" fmla="*/ 172 w 200"/>
                <a:gd name="T17" fmla="*/ 0 h 164"/>
                <a:gd name="T18" fmla="*/ 200 w 200"/>
                <a:gd name="T19" fmla="*/ 0 h 164"/>
                <a:gd name="T20" fmla="*/ 157 w 200"/>
                <a:gd name="T21" fmla="*/ 164 h 164"/>
                <a:gd name="T22" fmla="*/ 131 w 200"/>
                <a:gd name="T23" fmla="*/ 164 h 164"/>
                <a:gd name="T24" fmla="*/ 99 w 200"/>
                <a:gd name="T25" fmla="*/ 39 h 164"/>
                <a:gd name="T26" fmla="*/ 99 w 200"/>
                <a:gd name="T27" fmla="*/ 39 h 164"/>
                <a:gd name="T28" fmla="*/ 68 w 200"/>
                <a:gd name="T29" fmla="*/ 164 h 164"/>
                <a:gd name="T30" fmla="*/ 40 w 200"/>
                <a:gd name="T31" fmla="*/ 164 h 164"/>
                <a:gd name="T32" fmla="*/ 0 w 200"/>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64">
                  <a:moveTo>
                    <a:pt x="0" y="0"/>
                  </a:moveTo>
                  <a:lnTo>
                    <a:pt x="28" y="0"/>
                  </a:lnTo>
                  <a:lnTo>
                    <a:pt x="54" y="125"/>
                  </a:lnTo>
                  <a:lnTo>
                    <a:pt x="55" y="125"/>
                  </a:lnTo>
                  <a:lnTo>
                    <a:pt x="85" y="0"/>
                  </a:lnTo>
                  <a:lnTo>
                    <a:pt x="113" y="0"/>
                  </a:lnTo>
                  <a:lnTo>
                    <a:pt x="143" y="125"/>
                  </a:lnTo>
                  <a:lnTo>
                    <a:pt x="145" y="125"/>
                  </a:lnTo>
                  <a:lnTo>
                    <a:pt x="172" y="0"/>
                  </a:lnTo>
                  <a:lnTo>
                    <a:pt x="200" y="0"/>
                  </a:lnTo>
                  <a:lnTo>
                    <a:pt x="157" y="164"/>
                  </a:lnTo>
                  <a:lnTo>
                    <a:pt x="131" y="164"/>
                  </a:lnTo>
                  <a:lnTo>
                    <a:pt x="99" y="39"/>
                  </a:lnTo>
                  <a:lnTo>
                    <a:pt x="99" y="39"/>
                  </a:lnTo>
                  <a:lnTo>
                    <a:pt x="68" y="164"/>
                  </a:lnTo>
                  <a:lnTo>
                    <a:pt x="4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1" name="Rectangle 27"/>
            <p:cNvSpPr>
              <a:spLocks noChangeArrowheads="1"/>
            </p:cNvSpPr>
            <p:nvPr userDrawn="1"/>
          </p:nvSpPr>
          <p:spPr bwMode="auto">
            <a:xfrm>
              <a:off x="6453188" y="4095751"/>
              <a:ext cx="20638" cy="128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2" name="Freeform 28"/>
            <p:cNvSpPr>
              <a:spLocks/>
            </p:cNvSpPr>
            <p:nvPr userDrawn="1"/>
          </p:nvSpPr>
          <p:spPr bwMode="auto">
            <a:xfrm>
              <a:off x="6670675" y="4095751"/>
              <a:ext cx="98425" cy="128588"/>
            </a:xfrm>
            <a:custGeom>
              <a:avLst/>
              <a:gdLst>
                <a:gd name="T0" fmla="*/ 0 w 124"/>
                <a:gd name="T1" fmla="*/ 0 h 164"/>
                <a:gd name="T2" fmla="*/ 124 w 124"/>
                <a:gd name="T3" fmla="*/ 0 h 164"/>
                <a:gd name="T4" fmla="*/ 124 w 124"/>
                <a:gd name="T5" fmla="*/ 26 h 164"/>
                <a:gd name="T6" fmla="*/ 75 w 124"/>
                <a:gd name="T7" fmla="*/ 26 h 164"/>
                <a:gd name="T8" fmla="*/ 75 w 124"/>
                <a:gd name="T9" fmla="*/ 164 h 164"/>
                <a:gd name="T10" fmla="*/ 47 w 124"/>
                <a:gd name="T11" fmla="*/ 164 h 164"/>
                <a:gd name="T12" fmla="*/ 47 w 124"/>
                <a:gd name="T13" fmla="*/ 26 h 164"/>
                <a:gd name="T14" fmla="*/ 0 w 124"/>
                <a:gd name="T15" fmla="*/ 26 h 164"/>
                <a:gd name="T16" fmla="*/ 0 w 124"/>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64">
                  <a:moveTo>
                    <a:pt x="0" y="0"/>
                  </a:moveTo>
                  <a:lnTo>
                    <a:pt x="124" y="0"/>
                  </a:lnTo>
                  <a:lnTo>
                    <a:pt x="124" y="26"/>
                  </a:lnTo>
                  <a:lnTo>
                    <a:pt x="75" y="26"/>
                  </a:lnTo>
                  <a:lnTo>
                    <a:pt x="75" y="164"/>
                  </a:lnTo>
                  <a:lnTo>
                    <a:pt x="47" y="164"/>
                  </a:lnTo>
                  <a:lnTo>
                    <a:pt x="47" y="26"/>
                  </a:lnTo>
                  <a:lnTo>
                    <a:pt x="0" y="2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3" name="Freeform 29"/>
            <p:cNvSpPr>
              <a:spLocks/>
            </p:cNvSpPr>
            <p:nvPr userDrawn="1"/>
          </p:nvSpPr>
          <p:spPr bwMode="auto">
            <a:xfrm>
              <a:off x="6956425" y="4095751"/>
              <a:ext cx="100013" cy="128588"/>
            </a:xfrm>
            <a:custGeom>
              <a:avLst/>
              <a:gdLst>
                <a:gd name="T0" fmla="*/ 7 w 126"/>
                <a:gd name="T1" fmla="*/ 0 h 164"/>
                <a:gd name="T2" fmla="*/ 124 w 126"/>
                <a:gd name="T3" fmla="*/ 0 h 164"/>
                <a:gd name="T4" fmla="*/ 124 w 126"/>
                <a:gd name="T5" fmla="*/ 22 h 164"/>
                <a:gd name="T6" fmla="*/ 35 w 126"/>
                <a:gd name="T7" fmla="*/ 139 h 164"/>
                <a:gd name="T8" fmla="*/ 126 w 126"/>
                <a:gd name="T9" fmla="*/ 139 h 164"/>
                <a:gd name="T10" fmla="*/ 126 w 126"/>
                <a:gd name="T11" fmla="*/ 164 h 164"/>
                <a:gd name="T12" fmla="*/ 0 w 126"/>
                <a:gd name="T13" fmla="*/ 164 h 164"/>
                <a:gd name="T14" fmla="*/ 0 w 126"/>
                <a:gd name="T15" fmla="*/ 140 h 164"/>
                <a:gd name="T16" fmla="*/ 89 w 126"/>
                <a:gd name="T17" fmla="*/ 26 h 164"/>
                <a:gd name="T18" fmla="*/ 7 w 126"/>
                <a:gd name="T19" fmla="*/ 26 h 164"/>
                <a:gd name="T20" fmla="*/ 7 w 126"/>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64">
                  <a:moveTo>
                    <a:pt x="7" y="0"/>
                  </a:moveTo>
                  <a:lnTo>
                    <a:pt x="124" y="0"/>
                  </a:lnTo>
                  <a:lnTo>
                    <a:pt x="124" y="22"/>
                  </a:lnTo>
                  <a:lnTo>
                    <a:pt x="35" y="139"/>
                  </a:lnTo>
                  <a:lnTo>
                    <a:pt x="126" y="139"/>
                  </a:lnTo>
                  <a:lnTo>
                    <a:pt x="126" y="164"/>
                  </a:lnTo>
                  <a:lnTo>
                    <a:pt x="0" y="164"/>
                  </a:lnTo>
                  <a:lnTo>
                    <a:pt x="0" y="140"/>
                  </a:lnTo>
                  <a:lnTo>
                    <a:pt x="89" y="26"/>
                  </a:lnTo>
                  <a:lnTo>
                    <a:pt x="7" y="26"/>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4" name="Freeform 30"/>
            <p:cNvSpPr>
              <a:spLocks/>
            </p:cNvSpPr>
            <p:nvPr userDrawn="1"/>
          </p:nvSpPr>
          <p:spPr bwMode="auto">
            <a:xfrm>
              <a:off x="7254875" y="4095751"/>
              <a:ext cx="88900" cy="128588"/>
            </a:xfrm>
            <a:custGeom>
              <a:avLst/>
              <a:gdLst>
                <a:gd name="T0" fmla="*/ 0 w 112"/>
                <a:gd name="T1" fmla="*/ 0 h 164"/>
                <a:gd name="T2" fmla="*/ 111 w 112"/>
                <a:gd name="T3" fmla="*/ 0 h 164"/>
                <a:gd name="T4" fmla="*/ 111 w 112"/>
                <a:gd name="T5" fmla="*/ 26 h 164"/>
                <a:gd name="T6" fmla="*/ 27 w 112"/>
                <a:gd name="T7" fmla="*/ 26 h 164"/>
                <a:gd name="T8" fmla="*/ 27 w 112"/>
                <a:gd name="T9" fmla="*/ 68 h 164"/>
                <a:gd name="T10" fmla="*/ 105 w 112"/>
                <a:gd name="T11" fmla="*/ 68 h 164"/>
                <a:gd name="T12" fmla="*/ 105 w 112"/>
                <a:gd name="T13" fmla="*/ 92 h 164"/>
                <a:gd name="T14" fmla="*/ 27 w 112"/>
                <a:gd name="T15" fmla="*/ 92 h 164"/>
                <a:gd name="T16" fmla="*/ 27 w 112"/>
                <a:gd name="T17" fmla="*/ 139 h 164"/>
                <a:gd name="T18" fmla="*/ 112 w 112"/>
                <a:gd name="T19" fmla="*/ 139 h 164"/>
                <a:gd name="T20" fmla="*/ 112 w 112"/>
                <a:gd name="T21" fmla="*/ 164 h 164"/>
                <a:gd name="T22" fmla="*/ 0 w 112"/>
                <a:gd name="T23" fmla="*/ 164 h 164"/>
                <a:gd name="T24" fmla="*/ 0 w 112"/>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64">
                  <a:moveTo>
                    <a:pt x="0" y="0"/>
                  </a:moveTo>
                  <a:lnTo>
                    <a:pt x="111" y="0"/>
                  </a:lnTo>
                  <a:lnTo>
                    <a:pt x="111" y="26"/>
                  </a:lnTo>
                  <a:lnTo>
                    <a:pt x="27" y="26"/>
                  </a:lnTo>
                  <a:lnTo>
                    <a:pt x="27" y="68"/>
                  </a:lnTo>
                  <a:lnTo>
                    <a:pt x="105" y="68"/>
                  </a:lnTo>
                  <a:lnTo>
                    <a:pt x="105" y="92"/>
                  </a:lnTo>
                  <a:lnTo>
                    <a:pt x="27" y="92"/>
                  </a:lnTo>
                  <a:lnTo>
                    <a:pt x="27" y="139"/>
                  </a:lnTo>
                  <a:lnTo>
                    <a:pt x="112" y="139"/>
                  </a:lnTo>
                  <a:lnTo>
                    <a:pt x="112"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5" name="Freeform 31"/>
            <p:cNvSpPr>
              <a:spLocks noEditPoints="1"/>
            </p:cNvSpPr>
            <p:nvPr userDrawn="1"/>
          </p:nvSpPr>
          <p:spPr bwMode="auto">
            <a:xfrm>
              <a:off x="7543800" y="4095751"/>
              <a:ext cx="103188" cy="128588"/>
            </a:xfrm>
            <a:custGeom>
              <a:avLst/>
              <a:gdLst>
                <a:gd name="T0" fmla="*/ 27 w 130"/>
                <a:gd name="T1" fmla="*/ 24 h 164"/>
                <a:gd name="T2" fmla="*/ 27 w 130"/>
                <a:gd name="T3" fmla="*/ 74 h 164"/>
                <a:gd name="T4" fmla="*/ 71 w 130"/>
                <a:gd name="T5" fmla="*/ 74 h 164"/>
                <a:gd name="T6" fmla="*/ 83 w 130"/>
                <a:gd name="T7" fmla="*/ 73 h 164"/>
                <a:gd name="T8" fmla="*/ 91 w 130"/>
                <a:gd name="T9" fmla="*/ 68 h 164"/>
                <a:gd name="T10" fmla="*/ 96 w 130"/>
                <a:gd name="T11" fmla="*/ 60 h 164"/>
                <a:gd name="T12" fmla="*/ 98 w 130"/>
                <a:gd name="T13" fmla="*/ 49 h 164"/>
                <a:gd name="T14" fmla="*/ 96 w 130"/>
                <a:gd name="T15" fmla="*/ 38 h 164"/>
                <a:gd name="T16" fmla="*/ 92 w 130"/>
                <a:gd name="T17" fmla="*/ 31 h 164"/>
                <a:gd name="T18" fmla="*/ 86 w 130"/>
                <a:gd name="T19" fmla="*/ 27 h 164"/>
                <a:gd name="T20" fmla="*/ 79 w 130"/>
                <a:gd name="T21" fmla="*/ 24 h 164"/>
                <a:gd name="T22" fmla="*/ 71 w 130"/>
                <a:gd name="T23" fmla="*/ 24 h 164"/>
                <a:gd name="T24" fmla="*/ 27 w 130"/>
                <a:gd name="T25" fmla="*/ 24 h 164"/>
                <a:gd name="T26" fmla="*/ 0 w 130"/>
                <a:gd name="T27" fmla="*/ 0 h 164"/>
                <a:gd name="T28" fmla="*/ 73 w 130"/>
                <a:gd name="T29" fmla="*/ 0 h 164"/>
                <a:gd name="T30" fmla="*/ 92 w 130"/>
                <a:gd name="T31" fmla="*/ 2 h 164"/>
                <a:gd name="T32" fmla="*/ 106 w 130"/>
                <a:gd name="T33" fmla="*/ 8 h 164"/>
                <a:gd name="T34" fmla="*/ 116 w 130"/>
                <a:gd name="T35" fmla="*/ 17 h 164"/>
                <a:gd name="T36" fmla="*/ 122 w 130"/>
                <a:gd name="T37" fmla="*/ 29 h 164"/>
                <a:gd name="T38" fmla="*/ 124 w 130"/>
                <a:gd name="T39" fmla="*/ 44 h 164"/>
                <a:gd name="T40" fmla="*/ 123 w 130"/>
                <a:gd name="T41" fmla="*/ 58 h 164"/>
                <a:gd name="T42" fmla="*/ 119 w 130"/>
                <a:gd name="T43" fmla="*/ 68 h 164"/>
                <a:gd name="T44" fmla="*/ 114 w 130"/>
                <a:gd name="T45" fmla="*/ 77 h 164"/>
                <a:gd name="T46" fmla="*/ 108 w 130"/>
                <a:gd name="T47" fmla="*/ 81 h 164"/>
                <a:gd name="T48" fmla="*/ 102 w 130"/>
                <a:gd name="T49" fmla="*/ 85 h 164"/>
                <a:gd name="T50" fmla="*/ 99 w 130"/>
                <a:gd name="T51" fmla="*/ 86 h 164"/>
                <a:gd name="T52" fmla="*/ 99 w 130"/>
                <a:gd name="T53" fmla="*/ 86 h 164"/>
                <a:gd name="T54" fmla="*/ 105 w 130"/>
                <a:gd name="T55" fmla="*/ 88 h 164"/>
                <a:gd name="T56" fmla="*/ 112 w 130"/>
                <a:gd name="T57" fmla="*/ 92 h 164"/>
                <a:gd name="T58" fmla="*/ 116 w 130"/>
                <a:gd name="T59" fmla="*/ 97 h 164"/>
                <a:gd name="T60" fmla="*/ 121 w 130"/>
                <a:gd name="T61" fmla="*/ 107 h 164"/>
                <a:gd name="T62" fmla="*/ 122 w 130"/>
                <a:gd name="T63" fmla="*/ 121 h 164"/>
                <a:gd name="T64" fmla="*/ 122 w 130"/>
                <a:gd name="T65" fmla="*/ 135 h 164"/>
                <a:gd name="T66" fmla="*/ 124 w 130"/>
                <a:gd name="T67" fmla="*/ 146 h 164"/>
                <a:gd name="T68" fmla="*/ 127 w 130"/>
                <a:gd name="T69" fmla="*/ 157 h 164"/>
                <a:gd name="T70" fmla="*/ 130 w 130"/>
                <a:gd name="T71" fmla="*/ 164 h 164"/>
                <a:gd name="T72" fmla="*/ 101 w 130"/>
                <a:gd name="T73" fmla="*/ 164 h 164"/>
                <a:gd name="T74" fmla="*/ 98 w 130"/>
                <a:gd name="T75" fmla="*/ 152 h 164"/>
                <a:gd name="T76" fmla="*/ 98 w 130"/>
                <a:gd name="T77" fmla="*/ 139 h 164"/>
                <a:gd name="T78" fmla="*/ 96 w 130"/>
                <a:gd name="T79" fmla="*/ 124 h 164"/>
                <a:gd name="T80" fmla="*/ 94 w 130"/>
                <a:gd name="T81" fmla="*/ 111 h 164"/>
                <a:gd name="T82" fmla="*/ 88 w 130"/>
                <a:gd name="T83" fmla="*/ 103 h 164"/>
                <a:gd name="T84" fmla="*/ 79 w 130"/>
                <a:gd name="T85" fmla="*/ 99 h 164"/>
                <a:gd name="T86" fmla="*/ 68 w 130"/>
                <a:gd name="T87" fmla="*/ 96 h 164"/>
                <a:gd name="T88" fmla="*/ 27 w 130"/>
                <a:gd name="T89" fmla="*/ 96 h 164"/>
                <a:gd name="T90" fmla="*/ 27 w 130"/>
                <a:gd name="T91" fmla="*/ 164 h 164"/>
                <a:gd name="T92" fmla="*/ 0 w 130"/>
                <a:gd name="T93" fmla="*/ 164 h 164"/>
                <a:gd name="T94" fmla="*/ 0 w 130"/>
                <a:gd name="T9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4">
                  <a:moveTo>
                    <a:pt x="27" y="24"/>
                  </a:moveTo>
                  <a:lnTo>
                    <a:pt x="27" y="74"/>
                  </a:lnTo>
                  <a:lnTo>
                    <a:pt x="71" y="74"/>
                  </a:lnTo>
                  <a:lnTo>
                    <a:pt x="83" y="73"/>
                  </a:lnTo>
                  <a:lnTo>
                    <a:pt x="91" y="68"/>
                  </a:lnTo>
                  <a:lnTo>
                    <a:pt x="96" y="60"/>
                  </a:lnTo>
                  <a:lnTo>
                    <a:pt x="98" y="49"/>
                  </a:lnTo>
                  <a:lnTo>
                    <a:pt x="96" y="38"/>
                  </a:lnTo>
                  <a:lnTo>
                    <a:pt x="92" y="31"/>
                  </a:lnTo>
                  <a:lnTo>
                    <a:pt x="86" y="27"/>
                  </a:lnTo>
                  <a:lnTo>
                    <a:pt x="79" y="24"/>
                  </a:lnTo>
                  <a:lnTo>
                    <a:pt x="71" y="24"/>
                  </a:lnTo>
                  <a:lnTo>
                    <a:pt x="27" y="24"/>
                  </a:lnTo>
                  <a:close/>
                  <a:moveTo>
                    <a:pt x="0" y="0"/>
                  </a:moveTo>
                  <a:lnTo>
                    <a:pt x="73" y="0"/>
                  </a:lnTo>
                  <a:lnTo>
                    <a:pt x="92" y="2"/>
                  </a:lnTo>
                  <a:lnTo>
                    <a:pt x="106" y="8"/>
                  </a:lnTo>
                  <a:lnTo>
                    <a:pt x="116" y="17"/>
                  </a:lnTo>
                  <a:lnTo>
                    <a:pt x="122" y="29"/>
                  </a:lnTo>
                  <a:lnTo>
                    <a:pt x="124" y="44"/>
                  </a:lnTo>
                  <a:lnTo>
                    <a:pt x="123" y="58"/>
                  </a:lnTo>
                  <a:lnTo>
                    <a:pt x="119" y="68"/>
                  </a:lnTo>
                  <a:lnTo>
                    <a:pt x="114" y="77"/>
                  </a:lnTo>
                  <a:lnTo>
                    <a:pt x="108" y="81"/>
                  </a:lnTo>
                  <a:lnTo>
                    <a:pt x="102" y="85"/>
                  </a:lnTo>
                  <a:lnTo>
                    <a:pt x="99" y="86"/>
                  </a:lnTo>
                  <a:lnTo>
                    <a:pt x="99" y="86"/>
                  </a:lnTo>
                  <a:lnTo>
                    <a:pt x="105" y="88"/>
                  </a:lnTo>
                  <a:lnTo>
                    <a:pt x="112" y="92"/>
                  </a:lnTo>
                  <a:lnTo>
                    <a:pt x="116" y="97"/>
                  </a:lnTo>
                  <a:lnTo>
                    <a:pt x="121" y="107"/>
                  </a:lnTo>
                  <a:lnTo>
                    <a:pt x="122" y="121"/>
                  </a:lnTo>
                  <a:lnTo>
                    <a:pt x="122" y="135"/>
                  </a:lnTo>
                  <a:lnTo>
                    <a:pt x="124" y="146"/>
                  </a:lnTo>
                  <a:lnTo>
                    <a:pt x="127" y="157"/>
                  </a:lnTo>
                  <a:lnTo>
                    <a:pt x="130" y="164"/>
                  </a:lnTo>
                  <a:lnTo>
                    <a:pt x="101" y="164"/>
                  </a:lnTo>
                  <a:lnTo>
                    <a:pt x="98" y="152"/>
                  </a:lnTo>
                  <a:lnTo>
                    <a:pt x="98" y="139"/>
                  </a:lnTo>
                  <a:lnTo>
                    <a:pt x="96" y="124"/>
                  </a:lnTo>
                  <a:lnTo>
                    <a:pt x="94" y="111"/>
                  </a:lnTo>
                  <a:lnTo>
                    <a:pt x="88" y="103"/>
                  </a:lnTo>
                  <a:lnTo>
                    <a:pt x="79" y="99"/>
                  </a:lnTo>
                  <a:lnTo>
                    <a:pt x="68" y="96"/>
                  </a:lnTo>
                  <a:lnTo>
                    <a:pt x="27" y="96"/>
                  </a:lnTo>
                  <a:lnTo>
                    <a:pt x="27"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6" name="Freeform 32"/>
            <p:cNvSpPr>
              <a:spLocks/>
            </p:cNvSpPr>
            <p:nvPr userDrawn="1"/>
          </p:nvSpPr>
          <p:spPr bwMode="auto">
            <a:xfrm>
              <a:off x="7847013" y="4095751"/>
              <a:ext cx="82550" cy="128588"/>
            </a:xfrm>
            <a:custGeom>
              <a:avLst/>
              <a:gdLst>
                <a:gd name="T0" fmla="*/ 0 w 104"/>
                <a:gd name="T1" fmla="*/ 0 h 164"/>
                <a:gd name="T2" fmla="*/ 26 w 104"/>
                <a:gd name="T3" fmla="*/ 0 h 164"/>
                <a:gd name="T4" fmla="*/ 26 w 104"/>
                <a:gd name="T5" fmla="*/ 139 h 164"/>
                <a:gd name="T6" fmla="*/ 104 w 104"/>
                <a:gd name="T7" fmla="*/ 139 h 164"/>
                <a:gd name="T8" fmla="*/ 104 w 104"/>
                <a:gd name="T9" fmla="*/ 164 h 164"/>
                <a:gd name="T10" fmla="*/ 0 w 104"/>
                <a:gd name="T11" fmla="*/ 164 h 164"/>
                <a:gd name="T12" fmla="*/ 0 w 104"/>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04" h="164">
                  <a:moveTo>
                    <a:pt x="0" y="0"/>
                  </a:moveTo>
                  <a:lnTo>
                    <a:pt x="26" y="0"/>
                  </a:lnTo>
                  <a:lnTo>
                    <a:pt x="26" y="139"/>
                  </a:lnTo>
                  <a:lnTo>
                    <a:pt x="104" y="139"/>
                  </a:lnTo>
                  <a:lnTo>
                    <a:pt x="104"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7" name="Freeform 33"/>
            <p:cNvSpPr>
              <a:spLocks noEditPoints="1"/>
            </p:cNvSpPr>
            <p:nvPr userDrawn="1"/>
          </p:nvSpPr>
          <p:spPr bwMode="auto">
            <a:xfrm>
              <a:off x="8112125" y="4095751"/>
              <a:ext cx="115888" cy="128588"/>
            </a:xfrm>
            <a:custGeom>
              <a:avLst/>
              <a:gdLst>
                <a:gd name="T0" fmla="*/ 72 w 146"/>
                <a:gd name="T1" fmla="*/ 29 h 164"/>
                <a:gd name="T2" fmla="*/ 49 w 146"/>
                <a:gd name="T3" fmla="*/ 99 h 164"/>
                <a:gd name="T4" fmla="*/ 97 w 146"/>
                <a:gd name="T5" fmla="*/ 99 h 164"/>
                <a:gd name="T6" fmla="*/ 73 w 146"/>
                <a:gd name="T7" fmla="*/ 29 h 164"/>
                <a:gd name="T8" fmla="*/ 72 w 146"/>
                <a:gd name="T9" fmla="*/ 29 h 164"/>
                <a:gd name="T10" fmla="*/ 58 w 146"/>
                <a:gd name="T11" fmla="*/ 0 h 164"/>
                <a:gd name="T12" fmla="*/ 87 w 146"/>
                <a:gd name="T13" fmla="*/ 0 h 164"/>
                <a:gd name="T14" fmla="*/ 146 w 146"/>
                <a:gd name="T15" fmla="*/ 164 h 164"/>
                <a:gd name="T16" fmla="*/ 117 w 146"/>
                <a:gd name="T17" fmla="*/ 164 h 164"/>
                <a:gd name="T18" fmla="*/ 104 w 146"/>
                <a:gd name="T19" fmla="*/ 121 h 164"/>
                <a:gd name="T20" fmla="*/ 42 w 146"/>
                <a:gd name="T21" fmla="*/ 121 h 164"/>
                <a:gd name="T22" fmla="*/ 27 w 146"/>
                <a:gd name="T23" fmla="*/ 164 h 164"/>
                <a:gd name="T24" fmla="*/ 0 w 146"/>
                <a:gd name="T25" fmla="*/ 164 h 164"/>
                <a:gd name="T26" fmla="*/ 58 w 146"/>
                <a:gd name="T2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64">
                  <a:moveTo>
                    <a:pt x="72" y="29"/>
                  </a:moveTo>
                  <a:lnTo>
                    <a:pt x="49" y="99"/>
                  </a:lnTo>
                  <a:lnTo>
                    <a:pt x="97" y="99"/>
                  </a:lnTo>
                  <a:lnTo>
                    <a:pt x="73" y="29"/>
                  </a:lnTo>
                  <a:lnTo>
                    <a:pt x="72" y="29"/>
                  </a:lnTo>
                  <a:close/>
                  <a:moveTo>
                    <a:pt x="58" y="0"/>
                  </a:moveTo>
                  <a:lnTo>
                    <a:pt x="87" y="0"/>
                  </a:lnTo>
                  <a:lnTo>
                    <a:pt x="146" y="164"/>
                  </a:lnTo>
                  <a:lnTo>
                    <a:pt x="117" y="164"/>
                  </a:lnTo>
                  <a:lnTo>
                    <a:pt x="104" y="121"/>
                  </a:lnTo>
                  <a:lnTo>
                    <a:pt x="42" y="121"/>
                  </a:lnTo>
                  <a:lnTo>
                    <a:pt x="27" y="164"/>
                  </a:lnTo>
                  <a:lnTo>
                    <a:pt x="0"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8" name="Freeform 34"/>
            <p:cNvSpPr>
              <a:spLocks/>
            </p:cNvSpPr>
            <p:nvPr userDrawn="1"/>
          </p:nvSpPr>
          <p:spPr bwMode="auto">
            <a:xfrm>
              <a:off x="8420100" y="4095751"/>
              <a:ext cx="100013" cy="128588"/>
            </a:xfrm>
            <a:custGeom>
              <a:avLst/>
              <a:gdLst>
                <a:gd name="T0" fmla="*/ 0 w 125"/>
                <a:gd name="T1" fmla="*/ 0 h 164"/>
                <a:gd name="T2" fmla="*/ 29 w 125"/>
                <a:gd name="T3" fmla="*/ 0 h 164"/>
                <a:gd name="T4" fmla="*/ 98 w 125"/>
                <a:gd name="T5" fmla="*/ 121 h 164"/>
                <a:gd name="T6" fmla="*/ 99 w 125"/>
                <a:gd name="T7" fmla="*/ 121 h 164"/>
                <a:gd name="T8" fmla="*/ 99 w 125"/>
                <a:gd name="T9" fmla="*/ 0 h 164"/>
                <a:gd name="T10" fmla="*/ 125 w 125"/>
                <a:gd name="T11" fmla="*/ 0 h 164"/>
                <a:gd name="T12" fmla="*/ 125 w 125"/>
                <a:gd name="T13" fmla="*/ 164 h 164"/>
                <a:gd name="T14" fmla="*/ 96 w 125"/>
                <a:gd name="T15" fmla="*/ 164 h 164"/>
                <a:gd name="T16" fmla="*/ 26 w 125"/>
                <a:gd name="T17" fmla="*/ 44 h 164"/>
                <a:gd name="T18" fmla="*/ 26 w 125"/>
                <a:gd name="T19" fmla="*/ 44 h 164"/>
                <a:gd name="T20" fmla="*/ 26 w 125"/>
                <a:gd name="T21" fmla="*/ 164 h 164"/>
                <a:gd name="T22" fmla="*/ 0 w 125"/>
                <a:gd name="T23" fmla="*/ 164 h 164"/>
                <a:gd name="T24" fmla="*/ 0 w 125"/>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64">
                  <a:moveTo>
                    <a:pt x="0" y="0"/>
                  </a:moveTo>
                  <a:lnTo>
                    <a:pt x="29" y="0"/>
                  </a:lnTo>
                  <a:lnTo>
                    <a:pt x="98" y="121"/>
                  </a:lnTo>
                  <a:lnTo>
                    <a:pt x="99" y="121"/>
                  </a:lnTo>
                  <a:lnTo>
                    <a:pt x="99" y="0"/>
                  </a:lnTo>
                  <a:lnTo>
                    <a:pt x="125" y="0"/>
                  </a:lnTo>
                  <a:lnTo>
                    <a:pt x="125" y="164"/>
                  </a:lnTo>
                  <a:lnTo>
                    <a:pt x="96" y="164"/>
                  </a:lnTo>
                  <a:lnTo>
                    <a:pt x="26" y="44"/>
                  </a:lnTo>
                  <a:lnTo>
                    <a:pt x="26" y="44"/>
                  </a:lnTo>
                  <a:lnTo>
                    <a:pt x="26"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39" name="Freeform 35"/>
            <p:cNvSpPr>
              <a:spLocks noEditPoints="1"/>
            </p:cNvSpPr>
            <p:nvPr userDrawn="1"/>
          </p:nvSpPr>
          <p:spPr bwMode="auto">
            <a:xfrm>
              <a:off x="8726488" y="4095751"/>
              <a:ext cx="104775" cy="128588"/>
            </a:xfrm>
            <a:custGeom>
              <a:avLst/>
              <a:gdLst>
                <a:gd name="T0" fmla="*/ 26 w 130"/>
                <a:gd name="T1" fmla="*/ 24 h 164"/>
                <a:gd name="T2" fmla="*/ 26 w 130"/>
                <a:gd name="T3" fmla="*/ 140 h 164"/>
                <a:gd name="T4" fmla="*/ 53 w 130"/>
                <a:gd name="T5" fmla="*/ 140 h 164"/>
                <a:gd name="T6" fmla="*/ 69 w 130"/>
                <a:gd name="T7" fmla="*/ 139 h 164"/>
                <a:gd name="T8" fmla="*/ 82 w 130"/>
                <a:gd name="T9" fmla="*/ 135 h 164"/>
                <a:gd name="T10" fmla="*/ 91 w 130"/>
                <a:gd name="T11" fmla="*/ 128 h 164"/>
                <a:gd name="T12" fmla="*/ 97 w 130"/>
                <a:gd name="T13" fmla="*/ 118 h 164"/>
                <a:gd name="T14" fmla="*/ 101 w 130"/>
                <a:gd name="T15" fmla="*/ 108 h 164"/>
                <a:gd name="T16" fmla="*/ 104 w 130"/>
                <a:gd name="T17" fmla="*/ 95 h 164"/>
                <a:gd name="T18" fmla="*/ 104 w 130"/>
                <a:gd name="T19" fmla="*/ 82 h 164"/>
                <a:gd name="T20" fmla="*/ 104 w 130"/>
                <a:gd name="T21" fmla="*/ 68 h 164"/>
                <a:gd name="T22" fmla="*/ 101 w 130"/>
                <a:gd name="T23" fmla="*/ 57 h 164"/>
                <a:gd name="T24" fmla="*/ 97 w 130"/>
                <a:gd name="T25" fmla="*/ 45 h 164"/>
                <a:gd name="T26" fmla="*/ 91 w 130"/>
                <a:gd name="T27" fmla="*/ 36 h 164"/>
                <a:gd name="T28" fmla="*/ 82 w 130"/>
                <a:gd name="T29" fmla="*/ 30 h 164"/>
                <a:gd name="T30" fmla="*/ 69 w 130"/>
                <a:gd name="T31" fmla="*/ 26 h 164"/>
                <a:gd name="T32" fmla="*/ 53 w 130"/>
                <a:gd name="T33" fmla="*/ 24 h 164"/>
                <a:gd name="T34" fmla="*/ 26 w 130"/>
                <a:gd name="T35" fmla="*/ 24 h 164"/>
                <a:gd name="T36" fmla="*/ 0 w 130"/>
                <a:gd name="T37" fmla="*/ 0 h 164"/>
                <a:gd name="T38" fmla="*/ 63 w 130"/>
                <a:gd name="T39" fmla="*/ 0 h 164"/>
                <a:gd name="T40" fmla="*/ 82 w 130"/>
                <a:gd name="T41" fmla="*/ 2 h 164"/>
                <a:gd name="T42" fmla="*/ 97 w 130"/>
                <a:gd name="T43" fmla="*/ 9 h 164"/>
                <a:gd name="T44" fmla="*/ 110 w 130"/>
                <a:gd name="T45" fmla="*/ 19 h 164"/>
                <a:gd name="T46" fmla="*/ 119 w 130"/>
                <a:gd name="T47" fmla="*/ 31 h 164"/>
                <a:gd name="T48" fmla="*/ 126 w 130"/>
                <a:gd name="T49" fmla="*/ 46 h 164"/>
                <a:gd name="T50" fmla="*/ 129 w 130"/>
                <a:gd name="T51" fmla="*/ 64 h 164"/>
                <a:gd name="T52" fmla="*/ 130 w 130"/>
                <a:gd name="T53" fmla="*/ 82 h 164"/>
                <a:gd name="T54" fmla="*/ 129 w 130"/>
                <a:gd name="T55" fmla="*/ 101 h 164"/>
                <a:gd name="T56" fmla="*/ 126 w 130"/>
                <a:gd name="T57" fmla="*/ 118 h 164"/>
                <a:gd name="T58" fmla="*/ 119 w 130"/>
                <a:gd name="T59" fmla="*/ 133 h 164"/>
                <a:gd name="T60" fmla="*/ 110 w 130"/>
                <a:gd name="T61" fmla="*/ 146 h 164"/>
                <a:gd name="T62" fmla="*/ 97 w 130"/>
                <a:gd name="T63" fmla="*/ 155 h 164"/>
                <a:gd name="T64" fmla="*/ 82 w 130"/>
                <a:gd name="T65" fmla="*/ 161 h 164"/>
                <a:gd name="T66" fmla="*/ 63 w 130"/>
                <a:gd name="T67" fmla="*/ 164 h 164"/>
                <a:gd name="T68" fmla="*/ 0 w 130"/>
                <a:gd name="T69" fmla="*/ 164 h 164"/>
                <a:gd name="T70" fmla="*/ 0 w 130"/>
                <a:gd name="T7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64">
                  <a:moveTo>
                    <a:pt x="26" y="24"/>
                  </a:moveTo>
                  <a:lnTo>
                    <a:pt x="26" y="140"/>
                  </a:lnTo>
                  <a:lnTo>
                    <a:pt x="53" y="140"/>
                  </a:lnTo>
                  <a:lnTo>
                    <a:pt x="69" y="139"/>
                  </a:lnTo>
                  <a:lnTo>
                    <a:pt x="82" y="135"/>
                  </a:lnTo>
                  <a:lnTo>
                    <a:pt x="91" y="128"/>
                  </a:lnTo>
                  <a:lnTo>
                    <a:pt x="97" y="118"/>
                  </a:lnTo>
                  <a:lnTo>
                    <a:pt x="101" y="108"/>
                  </a:lnTo>
                  <a:lnTo>
                    <a:pt x="104" y="95"/>
                  </a:lnTo>
                  <a:lnTo>
                    <a:pt x="104" y="82"/>
                  </a:lnTo>
                  <a:lnTo>
                    <a:pt x="104" y="68"/>
                  </a:lnTo>
                  <a:lnTo>
                    <a:pt x="101" y="57"/>
                  </a:lnTo>
                  <a:lnTo>
                    <a:pt x="97" y="45"/>
                  </a:lnTo>
                  <a:lnTo>
                    <a:pt x="91" y="36"/>
                  </a:lnTo>
                  <a:lnTo>
                    <a:pt x="82" y="30"/>
                  </a:lnTo>
                  <a:lnTo>
                    <a:pt x="69" y="26"/>
                  </a:lnTo>
                  <a:lnTo>
                    <a:pt x="53" y="24"/>
                  </a:lnTo>
                  <a:lnTo>
                    <a:pt x="26" y="24"/>
                  </a:lnTo>
                  <a:close/>
                  <a:moveTo>
                    <a:pt x="0" y="0"/>
                  </a:moveTo>
                  <a:lnTo>
                    <a:pt x="63" y="0"/>
                  </a:lnTo>
                  <a:lnTo>
                    <a:pt x="82" y="2"/>
                  </a:lnTo>
                  <a:lnTo>
                    <a:pt x="97" y="9"/>
                  </a:lnTo>
                  <a:lnTo>
                    <a:pt x="110" y="19"/>
                  </a:lnTo>
                  <a:lnTo>
                    <a:pt x="119" y="31"/>
                  </a:lnTo>
                  <a:lnTo>
                    <a:pt x="126" y="46"/>
                  </a:lnTo>
                  <a:lnTo>
                    <a:pt x="129" y="64"/>
                  </a:lnTo>
                  <a:lnTo>
                    <a:pt x="130" y="82"/>
                  </a:lnTo>
                  <a:lnTo>
                    <a:pt x="129" y="101"/>
                  </a:lnTo>
                  <a:lnTo>
                    <a:pt x="126" y="118"/>
                  </a:lnTo>
                  <a:lnTo>
                    <a:pt x="119" y="133"/>
                  </a:lnTo>
                  <a:lnTo>
                    <a:pt x="110" y="146"/>
                  </a:lnTo>
                  <a:lnTo>
                    <a:pt x="97" y="155"/>
                  </a:lnTo>
                  <a:lnTo>
                    <a:pt x="82" y="161"/>
                  </a:lnTo>
                  <a:lnTo>
                    <a:pt x="63"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grpSp>
    </p:spTree>
    <p:custDataLst>
      <p:tags r:id="rId2"/>
    </p:custDataLst>
    <p:extLst>
      <p:ext uri="{BB962C8B-B14F-4D97-AF65-F5344CB8AC3E}">
        <p14:creationId xmlns:p14="http://schemas.microsoft.com/office/powerpoint/2010/main" val="10396419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Textplatzhalter 10"/>
          <p:cNvSpPr>
            <a:spLocks noGrp="1"/>
          </p:cNvSpPr>
          <p:nvPr>
            <p:ph type="body" sz="quarter" idx="11" hasCustomPrompt="1"/>
          </p:nvPr>
        </p:nvSpPr>
        <p:spPr>
          <a:xfrm>
            <a:off x="960971" y="6504503"/>
            <a:ext cx="6449484" cy="123111"/>
          </a:xfrm>
        </p:spPr>
        <p:txBody>
          <a:bodyPr/>
          <a:lstStyle>
            <a:lvl1pPr>
              <a:lnSpc>
                <a:spcPct val="100000"/>
              </a:lnSpc>
              <a:defRPr sz="1100" b="0" spc="27" baseline="0">
                <a:solidFill>
                  <a:schemeClr val="tx1"/>
                </a:solidFill>
              </a:defRPr>
            </a:lvl1pPr>
          </a:lstStyle>
          <a:p>
            <a:pPr lvl="0"/>
            <a:r>
              <a:rPr lang="de-DE"/>
              <a:t>Quelle/Fußnote</a:t>
            </a:r>
          </a:p>
        </p:txBody>
      </p:sp>
      <p:sp>
        <p:nvSpPr>
          <p:cNvPr id="4" name="Inhaltsplatzhalter 3"/>
          <p:cNvSpPr>
            <a:spLocks noGrp="1"/>
          </p:cNvSpPr>
          <p:nvPr>
            <p:ph sz="quarter" idx="12"/>
          </p:nvPr>
        </p:nvSpPr>
        <p:spPr/>
        <p:txBody>
          <a:bodyPr/>
          <a:lstStyle/>
          <a:p>
            <a:pPr lvl="0"/>
            <a:r>
              <a:rPr lang="de-DE"/>
              <a:t>Textmasterformat bearbeiten</a:t>
            </a:r>
          </a:p>
          <a:p>
            <a:pPr lvl="1"/>
            <a:r>
              <a:rPr lang="de-DE"/>
              <a:t>Zweite Ebene</a:t>
            </a:r>
          </a:p>
          <a:p>
            <a:pPr lvl="2"/>
            <a:r>
              <a:rPr lang="de-DE"/>
              <a:t>Dritte Ebene</a:t>
            </a:r>
          </a:p>
          <a:p>
            <a:pPr lvl="3"/>
            <a:r>
              <a:rPr lang="de-DE"/>
              <a:t>Vierte Ebene</a:t>
            </a:r>
          </a:p>
        </p:txBody>
      </p:sp>
    </p:spTree>
    <p:custDataLst>
      <p:tags r:id="rId1"/>
    </p:custDataLst>
    <p:extLst>
      <p:ext uri="{BB962C8B-B14F-4D97-AF65-F5344CB8AC3E}">
        <p14:creationId xmlns:p14="http://schemas.microsoft.com/office/powerpoint/2010/main" val="3081036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Textplatzhalter 10"/>
          <p:cNvSpPr>
            <a:spLocks noGrp="1"/>
          </p:cNvSpPr>
          <p:nvPr>
            <p:ph type="body" sz="quarter" idx="11" hasCustomPrompt="1"/>
          </p:nvPr>
        </p:nvSpPr>
        <p:spPr>
          <a:xfrm>
            <a:off x="960971" y="6504503"/>
            <a:ext cx="6449484" cy="123111"/>
          </a:xfrm>
        </p:spPr>
        <p:txBody>
          <a:bodyPr/>
          <a:lstStyle>
            <a:lvl1pPr>
              <a:lnSpc>
                <a:spcPct val="100000"/>
              </a:lnSpc>
              <a:defRPr sz="1100" b="0" spc="27" baseline="0">
                <a:solidFill>
                  <a:schemeClr val="tx1"/>
                </a:solidFill>
              </a:defRPr>
            </a:lvl1pPr>
          </a:lstStyle>
          <a:p>
            <a:pPr lvl="0"/>
            <a:r>
              <a:rPr lang="de-DE"/>
              <a:t>Quelle/Fußnote</a:t>
            </a:r>
          </a:p>
        </p:txBody>
      </p:sp>
    </p:spTree>
    <p:custDataLst>
      <p:tags r:id="rId1"/>
    </p:custDataLst>
    <p:extLst>
      <p:ext uri="{BB962C8B-B14F-4D97-AF65-F5344CB8AC3E}">
        <p14:creationId xmlns:p14="http://schemas.microsoft.com/office/powerpoint/2010/main" val="2555961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ontaktseite">
    <p:spTree>
      <p:nvGrpSpPr>
        <p:cNvPr id="1" name=""/>
        <p:cNvGrpSpPr/>
        <p:nvPr/>
      </p:nvGrpSpPr>
      <p:grpSpPr>
        <a:xfrm>
          <a:off x="0" y="0"/>
          <a:ext cx="0" cy="0"/>
          <a:chOff x="0" y="0"/>
          <a:chExt cx="0" cy="0"/>
        </a:xfrm>
      </p:grpSpPr>
      <p:pic>
        <p:nvPicPr>
          <p:cNvPr id="8" name="Picture 46" descr="R:\6_Marketing\Werbeagentur_ibl\Daten-Lieferung Werbeagentur\Grafiken_Visual und Claim\HQ_AAG100_1500x1125px.jp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8089" b="18089"/>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hasCustomPrompt="1"/>
          </p:nvPr>
        </p:nvSpPr>
        <p:spPr>
          <a:xfrm>
            <a:off x="960971" y="1008063"/>
            <a:ext cx="6374724" cy="492443"/>
          </a:xfrm>
        </p:spPr>
        <p:txBody>
          <a:bodyPr/>
          <a:lstStyle/>
          <a:p>
            <a:r>
              <a:rPr lang="de-DE"/>
              <a:t>Name der Veranstaltung</a:t>
            </a:r>
          </a:p>
        </p:txBody>
      </p:sp>
      <p:sp>
        <p:nvSpPr>
          <p:cNvPr id="5" name="Textplatzhalter 4"/>
          <p:cNvSpPr>
            <a:spLocks noGrp="1"/>
          </p:cNvSpPr>
          <p:nvPr>
            <p:ph type="body" sz="quarter" idx="10" hasCustomPrompt="1"/>
          </p:nvPr>
        </p:nvSpPr>
        <p:spPr>
          <a:xfrm>
            <a:off x="960971" y="1620841"/>
            <a:ext cx="6384969" cy="5416868"/>
          </a:xfrm>
        </p:spPr>
        <p:txBody>
          <a:bodyPr wrap="square">
            <a:spAutoFit/>
          </a:bodyPr>
          <a:lstStyle>
            <a:lvl1pPr marL="0" indent="0">
              <a:spcBef>
                <a:spcPts val="0"/>
              </a:spcBef>
              <a:spcAft>
                <a:spcPts val="1067"/>
              </a:spcAft>
              <a:buClr>
                <a:schemeClr val="bg2"/>
              </a:buClr>
              <a:buNone/>
              <a:tabLst>
                <a:tab pos="482588" algn="l"/>
              </a:tabLst>
              <a:defRPr sz="2400" b="0">
                <a:solidFill>
                  <a:schemeClr val="tx1"/>
                </a:solidFill>
              </a:defRPr>
            </a:lvl1pPr>
          </a:lstStyle>
          <a:p>
            <a:pPr lvl="0"/>
            <a:r>
              <a:rPr lang="de-CH" sz="2100"/>
              <a:t>20. August 2017, Bellach</a:t>
            </a:r>
          </a:p>
          <a:p>
            <a:pPr lvl="0"/>
            <a:endParaRPr lang="de-CH" sz="2100"/>
          </a:p>
          <a:p>
            <a:pPr lvl="0"/>
            <a:r>
              <a:rPr lang="de-CH" sz="2100" b="1"/>
              <a:t>Dr. Stephan Scholze</a:t>
            </a:r>
            <a:br>
              <a:rPr lang="de-CH" sz="2100"/>
            </a:br>
            <a:r>
              <a:rPr lang="de-CH" sz="2100"/>
              <a:t>CTO</a:t>
            </a:r>
          </a:p>
          <a:p>
            <a:pPr lvl="0"/>
            <a:r>
              <a:rPr lang="de-CH" sz="2100"/>
              <a:t>stephan.scholze@agathon.ch</a:t>
            </a:r>
            <a:br>
              <a:rPr lang="de-CH" sz="2100"/>
            </a:br>
            <a:r>
              <a:rPr lang="de-CH" sz="2100"/>
              <a:t>T	+41 32 617 45 60</a:t>
            </a:r>
            <a:br>
              <a:rPr lang="de-CH" sz="2100"/>
            </a:br>
            <a:r>
              <a:rPr lang="de-CH" sz="2100"/>
              <a:t>M	+41 76 580 66 96</a:t>
            </a:r>
            <a:br>
              <a:rPr lang="de-CH" sz="2100"/>
            </a:br>
            <a:r>
              <a:rPr lang="de-CH" sz="2100"/>
              <a:t>F	+41 32 617 47 60</a:t>
            </a:r>
          </a:p>
          <a:p>
            <a:pPr lvl="0"/>
            <a:endParaRPr lang="de-CH" sz="2100"/>
          </a:p>
          <a:p>
            <a:pPr lvl="0"/>
            <a:r>
              <a:rPr lang="de-CH" sz="2100"/>
              <a:t>Agathon AG</a:t>
            </a:r>
            <a:br>
              <a:rPr lang="de-CH" sz="2100"/>
            </a:br>
            <a:r>
              <a:rPr lang="de-CH" sz="2100"/>
              <a:t>Gurzelenstrasse 1</a:t>
            </a:r>
            <a:br>
              <a:rPr lang="de-CH" sz="2100"/>
            </a:br>
            <a:r>
              <a:rPr lang="de-CH" sz="2100"/>
              <a:t>4512 Bellach</a:t>
            </a:r>
            <a:br>
              <a:rPr lang="de-CH" sz="2100"/>
            </a:br>
            <a:r>
              <a:rPr lang="de-CH" sz="2100" err="1"/>
              <a:t>Switzerland</a:t>
            </a:r>
            <a:endParaRPr lang="de-CH" sz="2100"/>
          </a:p>
          <a:p>
            <a:pPr lvl="0"/>
            <a:r>
              <a:rPr lang="de-CH" sz="2100"/>
              <a:t>www.agathon.ch</a:t>
            </a:r>
          </a:p>
        </p:txBody>
      </p:sp>
      <p:pic>
        <p:nvPicPr>
          <p:cNvPr id="6" name="Picture 47" descr="R:\6_Marketing\Werbeagentur_ibl\Daten-Lieferung Werbeagentur\Grafiken_Visual und Claim\HQ_AAG100_Claim_positiv.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0968" y="6324556"/>
            <a:ext cx="2070765" cy="144000"/>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18371" y="5733188"/>
            <a:ext cx="1741315" cy="720000"/>
          </a:xfrm>
          <a:prstGeom prst="rect">
            <a:avLst/>
          </a:prstGeom>
        </p:spPr>
      </p:pic>
    </p:spTree>
    <p:custDataLst>
      <p:tags r:id="rId1"/>
    </p:custDataLst>
    <p:extLst>
      <p:ext uri="{BB962C8B-B14F-4D97-AF65-F5344CB8AC3E}">
        <p14:creationId xmlns:p14="http://schemas.microsoft.com/office/powerpoint/2010/main" val="2512808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hlussfolie 1 Name">
    <p:spTree>
      <p:nvGrpSpPr>
        <p:cNvPr id="1" name=""/>
        <p:cNvGrpSpPr/>
        <p:nvPr/>
      </p:nvGrpSpPr>
      <p:grpSpPr>
        <a:xfrm>
          <a:off x="0" y="0"/>
          <a:ext cx="0" cy="0"/>
          <a:chOff x="0" y="0"/>
          <a:chExt cx="0" cy="0"/>
        </a:xfrm>
      </p:grpSpPr>
      <p:pic>
        <p:nvPicPr>
          <p:cNvPr id="12" name="Bild 8"/>
          <p:cNvPicPr>
            <a:picLocks noChangeAspect="1"/>
          </p:cNvPicPr>
          <p:nvPr userDrawn="1"/>
        </p:nvPicPr>
        <p:blipFill>
          <a:blip r:embed="rId2"/>
          <a:stretch>
            <a:fillRect/>
          </a:stretch>
        </p:blipFill>
        <p:spPr>
          <a:xfrm>
            <a:off x="313617" y="3177802"/>
            <a:ext cx="1115936" cy="628597"/>
          </a:xfrm>
          <a:prstGeom prst="rect">
            <a:avLst/>
          </a:prstGeom>
        </p:spPr>
      </p:pic>
      <p:sp>
        <p:nvSpPr>
          <p:cNvPr id="13" name="Rechteck 12"/>
          <p:cNvSpPr/>
          <p:nvPr userDrawn="1"/>
        </p:nvSpPr>
        <p:spPr>
          <a:xfrm>
            <a:off x="0" y="0"/>
            <a:ext cx="12192000" cy="2804584"/>
          </a:xfrm>
          <a:prstGeom prst="rect">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
        <p:nvSpPr>
          <p:cNvPr id="4" name="Textplatzhalter 3"/>
          <p:cNvSpPr>
            <a:spLocks noGrp="1"/>
          </p:cNvSpPr>
          <p:nvPr>
            <p:ph type="body" sz="quarter" idx="10" hasCustomPrompt="1"/>
          </p:nvPr>
        </p:nvSpPr>
        <p:spPr>
          <a:xfrm>
            <a:off x="2832690" y="4251476"/>
            <a:ext cx="4478476" cy="2050951"/>
          </a:xfrm>
        </p:spPr>
        <p:txBody>
          <a:bodyPr/>
          <a:lstStyle>
            <a:lvl1pPr>
              <a:defRPr sz="1800" baseline="0">
                <a:solidFill>
                  <a:schemeClr val="bg2"/>
                </a:solidFill>
              </a:defRPr>
            </a:lvl1pPr>
          </a:lstStyle>
          <a:p>
            <a:pPr lvl="0"/>
            <a:r>
              <a:rPr lang="de-CH" noProof="0"/>
              <a:t>Bei Aufzählungen NICHT die Buttons oben im Menü verwenden, sondern jede Textzeile komplett markieren und mit der Tabulator-Taste </a:t>
            </a:r>
            <a:endParaRPr lang="en-US" noProof="0"/>
          </a:p>
        </p:txBody>
      </p:sp>
      <p:sp>
        <p:nvSpPr>
          <p:cNvPr id="11" name="Textplatzhalter 3"/>
          <p:cNvSpPr>
            <a:spLocks noGrp="1"/>
          </p:cNvSpPr>
          <p:nvPr>
            <p:ph type="body" sz="quarter" idx="12" hasCustomPrompt="1"/>
          </p:nvPr>
        </p:nvSpPr>
        <p:spPr>
          <a:xfrm>
            <a:off x="7414681" y="4251476"/>
            <a:ext cx="4463700" cy="2050951"/>
          </a:xfrm>
        </p:spPr>
        <p:txBody>
          <a:bodyPr/>
          <a:lstStyle>
            <a:lvl1pPr>
              <a:defRPr sz="1800" baseline="0">
                <a:solidFill>
                  <a:schemeClr val="bg2"/>
                </a:solidFill>
              </a:defRPr>
            </a:lvl1pPr>
          </a:lstStyle>
          <a:p>
            <a:pPr lvl="0"/>
            <a:r>
              <a:rPr lang="de-CH" noProof="0"/>
              <a:t>Bei Aufzählungen NICHT die Buttons oben im Menü verwenden, sondern jede Textzeile komplett markieren und mit der Tabulator-Taste</a:t>
            </a:r>
            <a:endParaRPr lang="en-US" noProof="0"/>
          </a:p>
        </p:txBody>
      </p:sp>
      <p:sp>
        <p:nvSpPr>
          <p:cNvPr id="14" name="Fußzeilenplatzhalter 1"/>
          <p:cNvSpPr txBox="1">
            <a:spLocks/>
          </p:cNvSpPr>
          <p:nvPr userDrawn="1"/>
        </p:nvSpPr>
        <p:spPr>
          <a:xfrm>
            <a:off x="7311166" y="6990878"/>
            <a:ext cx="1833963" cy="239999"/>
          </a:xfrm>
          <a:prstGeom prst="rect">
            <a:avLst/>
          </a:prstGeom>
        </p:spPr>
        <p:txBody>
          <a:bodyPr anchor="ct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58CAFEC-0E1A-4957-AD13-2A19AD630DE6}" type="datetime1">
              <a:rPr lang="de-CH" sz="800" smtClean="0">
                <a:solidFill>
                  <a:schemeClr val="bg2"/>
                </a:solidFill>
              </a:rPr>
              <a:t>07.09.2018</a:t>
            </a:fld>
            <a:endParaRPr lang="de-CH" sz="800">
              <a:solidFill>
                <a:schemeClr val="bg2"/>
              </a:solidFill>
            </a:endParaRPr>
          </a:p>
        </p:txBody>
      </p:sp>
      <p:sp>
        <p:nvSpPr>
          <p:cNvPr id="20" name="Foliennummernplatzhalter 3"/>
          <p:cNvSpPr>
            <a:spLocks noGrp="1"/>
          </p:cNvSpPr>
          <p:nvPr>
            <p:ph type="sldNum" sz="quarter" idx="4"/>
          </p:nvPr>
        </p:nvSpPr>
        <p:spPr>
          <a:xfrm>
            <a:off x="11398383" y="6990879"/>
            <a:ext cx="480000" cy="240000"/>
          </a:xfrm>
          <a:prstGeom prst="rect">
            <a:avLst/>
          </a:prstGeom>
        </p:spPr>
        <p:txBody>
          <a:bodyPr vert="horz" lIns="0" tIns="0" rIns="0" bIns="0" rtlCol="0" anchor="ctr"/>
          <a:lstStyle>
            <a:lvl1pPr algn="r">
              <a:defRPr sz="800">
                <a:solidFill>
                  <a:schemeClr val="tx1">
                    <a:tint val="75000"/>
                  </a:schemeClr>
                </a:solidFill>
              </a:defRPr>
            </a:lvl1pPr>
          </a:lstStyle>
          <a:p>
            <a:fld id="{D7402FF4-3150-4BB9-8471-06339226EF9E}" type="slidenum">
              <a:rPr lang="de-CH" smtClean="0"/>
              <a:pPr/>
              <a:t>‹#›</a:t>
            </a:fld>
            <a:endParaRPr lang="de-CH"/>
          </a:p>
        </p:txBody>
      </p:sp>
      <p:sp>
        <p:nvSpPr>
          <p:cNvPr id="16" name="Fußzeilenplatzhalter 1"/>
          <p:cNvSpPr txBox="1">
            <a:spLocks/>
          </p:cNvSpPr>
          <p:nvPr userDrawn="1"/>
        </p:nvSpPr>
        <p:spPr>
          <a:xfrm>
            <a:off x="2731091" y="6990879"/>
            <a:ext cx="2326822" cy="239999"/>
          </a:xfrm>
          <a:prstGeom prst="rect">
            <a:avLst/>
          </a:prstGeom>
        </p:spPr>
        <p:txBody>
          <a:bodyPr anchor="ct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de-CH" sz="800">
                <a:solidFill>
                  <a:schemeClr val="bg2"/>
                </a:solidFill>
                <a:cs typeface="Arial"/>
              </a:rPr>
              <a:t>bbv Software Services AG | www.bbv.ch</a:t>
            </a:r>
            <a:endParaRPr lang="de-CH" sz="800">
              <a:solidFill>
                <a:schemeClr val="bg2"/>
              </a:solidFill>
            </a:endParaRPr>
          </a:p>
        </p:txBody>
      </p:sp>
      <p:sp>
        <p:nvSpPr>
          <p:cNvPr id="18" name="Fußzeilenplatzhalter 4"/>
          <p:cNvSpPr>
            <a:spLocks noGrp="1"/>
          </p:cNvSpPr>
          <p:nvPr>
            <p:ph type="ftr" sz="quarter" idx="11"/>
          </p:nvPr>
        </p:nvSpPr>
        <p:spPr>
          <a:xfrm>
            <a:off x="4652302" y="6990878"/>
            <a:ext cx="1926140" cy="239999"/>
          </a:xfrm>
        </p:spPr>
        <p:txBody>
          <a:bodyPr anchor="ctr"/>
          <a:lstStyle>
            <a:lvl1pPr>
              <a:defRPr lang="de-DE" sz="800" smtClean="0">
                <a:solidFill>
                  <a:schemeClr val="bg2"/>
                </a:solidFill>
                <a:cs typeface="Arial"/>
              </a:defRPr>
            </a:lvl1pPr>
          </a:lstStyle>
          <a:p>
            <a:endParaRPr lang="de-DE"/>
          </a:p>
        </p:txBody>
      </p:sp>
      <p:sp>
        <p:nvSpPr>
          <p:cNvPr id="3" name="Titel 2"/>
          <p:cNvSpPr>
            <a:spLocks noGrp="1"/>
          </p:cNvSpPr>
          <p:nvPr>
            <p:ph type="title"/>
          </p:nvPr>
        </p:nvSpPr>
        <p:spPr>
          <a:xfrm>
            <a:off x="2832690" y="3346575"/>
            <a:ext cx="9045691" cy="571321"/>
          </a:xfrm>
        </p:spPr>
        <p:txBody>
          <a:bodyPr>
            <a:normAutofit/>
          </a:bodyPr>
          <a:lstStyle>
            <a:lvl1pPr>
              <a:defRPr sz="3000">
                <a:solidFill>
                  <a:schemeClr val="tx1"/>
                </a:solidFill>
              </a:defRPr>
            </a:lvl1pPr>
          </a:lstStyle>
          <a:p>
            <a:r>
              <a:rPr lang="en-US"/>
              <a:t>Click to edit Master title style</a:t>
            </a:r>
            <a:endParaRPr lang="en-GB"/>
          </a:p>
        </p:txBody>
      </p:sp>
      <p:pic>
        <p:nvPicPr>
          <p:cNvPr id="15" name="Graphic 14">
            <a:extLst>
              <a:ext uri="{FF2B5EF4-FFF2-40B4-BE49-F238E27FC236}">
                <a16:creationId xmlns:a16="http://schemas.microsoft.com/office/drawing/2014/main" id="{99BD09D1-86BD-41F4-847F-EE80F202E1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838000" y="1191473"/>
            <a:ext cx="6516000" cy="421638"/>
          </a:xfrm>
          <a:prstGeom prst="rect">
            <a:avLst/>
          </a:prstGeom>
        </p:spPr>
      </p:pic>
    </p:spTree>
    <p:extLst>
      <p:ext uri="{BB962C8B-B14F-4D97-AF65-F5344CB8AC3E}">
        <p14:creationId xmlns:p14="http://schemas.microsoft.com/office/powerpoint/2010/main" val="2970934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chlussfolie 2 Namen">
    <p:spTree>
      <p:nvGrpSpPr>
        <p:cNvPr id="1" name=""/>
        <p:cNvGrpSpPr/>
        <p:nvPr/>
      </p:nvGrpSpPr>
      <p:grpSpPr>
        <a:xfrm>
          <a:off x="0" y="0"/>
          <a:ext cx="0" cy="0"/>
          <a:chOff x="0" y="0"/>
          <a:chExt cx="0" cy="0"/>
        </a:xfrm>
      </p:grpSpPr>
      <p:sp>
        <p:nvSpPr>
          <p:cNvPr id="15" name="Rechteck 14"/>
          <p:cNvSpPr/>
          <p:nvPr userDrawn="1"/>
        </p:nvSpPr>
        <p:spPr>
          <a:xfrm>
            <a:off x="0" y="0"/>
            <a:ext cx="12192000" cy="2804584"/>
          </a:xfrm>
          <a:prstGeom prst="rect">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
        <p:nvSpPr>
          <p:cNvPr id="23" name="Titel 5"/>
          <p:cNvSpPr>
            <a:spLocks noGrp="1"/>
          </p:cNvSpPr>
          <p:nvPr>
            <p:ph type="title"/>
          </p:nvPr>
        </p:nvSpPr>
        <p:spPr>
          <a:xfrm>
            <a:off x="2832690" y="3177802"/>
            <a:ext cx="4478476" cy="680912"/>
          </a:xfrm>
          <a:prstGeom prst="rect">
            <a:avLst/>
          </a:prstGeom>
        </p:spPr>
        <p:txBody>
          <a:bodyPr/>
          <a:lstStyle>
            <a:lvl1pPr>
              <a:defRPr sz="1800">
                <a:solidFill>
                  <a:schemeClr val="accent2"/>
                </a:solidFill>
                <a:latin typeface="+mn-lt"/>
              </a:defRPr>
            </a:lvl1pPr>
          </a:lstStyle>
          <a:p>
            <a:pPr>
              <a:lnSpc>
                <a:spcPct val="90000"/>
              </a:lnSpc>
            </a:pPr>
            <a:r>
              <a:rPr lang="en-US" sz="1867"/>
              <a:t>Click to edit Master title style</a:t>
            </a:r>
          </a:p>
        </p:txBody>
      </p:sp>
      <p:sp>
        <p:nvSpPr>
          <p:cNvPr id="34" name="Textplatzhalter 3"/>
          <p:cNvSpPr>
            <a:spLocks noGrp="1"/>
          </p:cNvSpPr>
          <p:nvPr>
            <p:ph type="body" sz="quarter" idx="11" hasCustomPrompt="1"/>
          </p:nvPr>
        </p:nvSpPr>
        <p:spPr>
          <a:xfrm>
            <a:off x="7414681" y="3175532"/>
            <a:ext cx="4464526" cy="1090120"/>
          </a:xfrm>
        </p:spPr>
        <p:txBody>
          <a:bodyPr/>
          <a:lstStyle>
            <a:lvl1pPr>
              <a:defRPr sz="1800" baseline="0">
                <a:solidFill>
                  <a:schemeClr val="bg2"/>
                </a:solidFill>
                <a:latin typeface="+mn-lt"/>
              </a:defRPr>
            </a:lvl1pPr>
          </a:lstStyle>
          <a:p>
            <a:pPr lvl="0"/>
            <a:r>
              <a:rPr lang="de-CH" noProof="0"/>
              <a:t>Bei Aufzählungen NICHT die Buttons oben im Menü verwenden, sondern jede Textzeile komplett markieren und mit der Tabulator-Taste </a:t>
            </a:r>
            <a:endParaRPr lang="en-US" noProof="0"/>
          </a:p>
        </p:txBody>
      </p:sp>
      <p:sp>
        <p:nvSpPr>
          <p:cNvPr id="35" name="Textplatzhalter 3"/>
          <p:cNvSpPr>
            <a:spLocks noGrp="1"/>
          </p:cNvSpPr>
          <p:nvPr>
            <p:ph type="body" sz="quarter" idx="12" hasCustomPrompt="1"/>
          </p:nvPr>
        </p:nvSpPr>
        <p:spPr>
          <a:xfrm>
            <a:off x="7424163" y="4618805"/>
            <a:ext cx="4454217" cy="1412487"/>
          </a:xfrm>
        </p:spPr>
        <p:txBody>
          <a:bodyPr/>
          <a:lstStyle>
            <a:lvl1pPr>
              <a:defRPr sz="1800" baseline="0">
                <a:solidFill>
                  <a:schemeClr val="bg2"/>
                </a:solidFill>
                <a:latin typeface="+mn-lt"/>
              </a:defRPr>
            </a:lvl1pPr>
          </a:lstStyle>
          <a:p>
            <a:pPr lvl="0"/>
            <a:r>
              <a:rPr lang="de-CH" noProof="0"/>
              <a:t>Bei Aufzählungen NICHT die Buttons oben im Menü verwenden, sondern jede Textzeile komplett markieren und mit der Tabulator-Taste </a:t>
            </a:r>
            <a:endParaRPr lang="en-US" noProof="0"/>
          </a:p>
        </p:txBody>
      </p:sp>
      <p:sp>
        <p:nvSpPr>
          <p:cNvPr id="36" name="Textplatzhalter 3"/>
          <p:cNvSpPr>
            <a:spLocks noGrp="1"/>
          </p:cNvSpPr>
          <p:nvPr>
            <p:ph type="body" sz="quarter" idx="13" hasCustomPrompt="1"/>
          </p:nvPr>
        </p:nvSpPr>
        <p:spPr>
          <a:xfrm>
            <a:off x="2832690" y="4635129"/>
            <a:ext cx="4478476" cy="1412487"/>
          </a:xfrm>
        </p:spPr>
        <p:txBody>
          <a:bodyPr/>
          <a:lstStyle>
            <a:lvl1pPr>
              <a:defRPr sz="1800" baseline="0">
                <a:solidFill>
                  <a:schemeClr val="bg2"/>
                </a:solidFill>
                <a:latin typeface="+mn-lt"/>
              </a:defRPr>
            </a:lvl1pPr>
          </a:lstStyle>
          <a:p>
            <a:pPr lvl="0"/>
            <a:r>
              <a:rPr lang="de-CH" noProof="0"/>
              <a:t>Bei Aufzählungen NICHT die Buttons oben im Menü verwenden, sondern jede Textzeile komplett markieren und mit der Tabulator-Taste </a:t>
            </a:r>
            <a:endParaRPr lang="en-US" noProof="0"/>
          </a:p>
        </p:txBody>
      </p:sp>
      <p:sp>
        <p:nvSpPr>
          <p:cNvPr id="22" name="Fußzeilenplatzhalter 1"/>
          <p:cNvSpPr txBox="1">
            <a:spLocks/>
          </p:cNvSpPr>
          <p:nvPr userDrawn="1"/>
        </p:nvSpPr>
        <p:spPr>
          <a:xfrm>
            <a:off x="7311166" y="6970097"/>
            <a:ext cx="1833963" cy="239999"/>
          </a:xfrm>
          <a:prstGeom prst="rect">
            <a:avLst/>
          </a:prstGeom>
        </p:spPr>
        <p:txBody>
          <a:bodyPr anchor="ct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58CAFEC-0E1A-4957-AD13-2A19AD630DE6}" type="datetime1">
              <a:rPr lang="de-CH" sz="800" smtClean="0">
                <a:solidFill>
                  <a:schemeClr val="bg2"/>
                </a:solidFill>
              </a:rPr>
              <a:t>07.09.2018</a:t>
            </a:fld>
            <a:endParaRPr lang="de-CH" sz="800">
              <a:solidFill>
                <a:schemeClr val="bg2"/>
              </a:solidFill>
            </a:endParaRPr>
          </a:p>
        </p:txBody>
      </p:sp>
      <p:sp>
        <p:nvSpPr>
          <p:cNvPr id="24" name="Foliennummernplatzhalter 3"/>
          <p:cNvSpPr>
            <a:spLocks noGrp="1"/>
          </p:cNvSpPr>
          <p:nvPr>
            <p:ph type="sldNum" sz="quarter" idx="4"/>
          </p:nvPr>
        </p:nvSpPr>
        <p:spPr>
          <a:xfrm>
            <a:off x="11404703" y="6970098"/>
            <a:ext cx="480000" cy="240000"/>
          </a:xfrm>
          <a:prstGeom prst="rect">
            <a:avLst/>
          </a:prstGeom>
        </p:spPr>
        <p:txBody>
          <a:bodyPr vert="horz" lIns="0" tIns="0" rIns="0" bIns="0" rtlCol="0" anchor="ctr"/>
          <a:lstStyle>
            <a:lvl1pPr algn="r">
              <a:defRPr sz="800">
                <a:solidFill>
                  <a:schemeClr val="tx1">
                    <a:tint val="75000"/>
                  </a:schemeClr>
                </a:solidFill>
              </a:defRPr>
            </a:lvl1pPr>
          </a:lstStyle>
          <a:p>
            <a:fld id="{D7402FF4-3150-4BB9-8471-06339226EF9E}" type="slidenum">
              <a:rPr lang="de-CH" smtClean="0"/>
              <a:pPr/>
              <a:t>‹#›</a:t>
            </a:fld>
            <a:endParaRPr lang="de-CH"/>
          </a:p>
        </p:txBody>
      </p:sp>
      <p:sp>
        <p:nvSpPr>
          <p:cNvPr id="17" name="Fußzeilenplatzhalter 1"/>
          <p:cNvSpPr txBox="1">
            <a:spLocks/>
          </p:cNvSpPr>
          <p:nvPr userDrawn="1"/>
        </p:nvSpPr>
        <p:spPr>
          <a:xfrm>
            <a:off x="2731091" y="6970098"/>
            <a:ext cx="2326822" cy="239999"/>
          </a:xfrm>
          <a:prstGeom prst="rect">
            <a:avLst/>
          </a:prstGeom>
        </p:spPr>
        <p:txBody>
          <a:bodyPr anchor="ct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de-CH" sz="800">
                <a:solidFill>
                  <a:schemeClr val="bg2"/>
                </a:solidFill>
                <a:cs typeface="Arial"/>
              </a:rPr>
              <a:t>bbv Software Services AG | www.bbv.ch</a:t>
            </a:r>
            <a:endParaRPr lang="de-CH" sz="800">
              <a:solidFill>
                <a:schemeClr val="bg2"/>
              </a:solidFill>
            </a:endParaRPr>
          </a:p>
        </p:txBody>
      </p:sp>
      <p:sp>
        <p:nvSpPr>
          <p:cNvPr id="18" name="Fußzeilenplatzhalter 4"/>
          <p:cNvSpPr>
            <a:spLocks noGrp="1"/>
          </p:cNvSpPr>
          <p:nvPr>
            <p:ph type="ftr" sz="quarter" idx="16"/>
          </p:nvPr>
        </p:nvSpPr>
        <p:spPr>
          <a:xfrm>
            <a:off x="4652302" y="6970097"/>
            <a:ext cx="1926140" cy="239999"/>
          </a:xfrm>
        </p:spPr>
        <p:txBody>
          <a:bodyPr anchor="ctr"/>
          <a:lstStyle>
            <a:lvl1pPr>
              <a:defRPr lang="de-DE" sz="800" smtClean="0">
                <a:solidFill>
                  <a:schemeClr val="bg2"/>
                </a:solidFill>
                <a:cs typeface="Arial"/>
              </a:defRPr>
            </a:lvl1pPr>
          </a:lstStyle>
          <a:p>
            <a:endParaRPr lang="de-DE"/>
          </a:p>
        </p:txBody>
      </p:sp>
      <p:pic>
        <p:nvPicPr>
          <p:cNvPr id="19" name="Bild 8"/>
          <p:cNvPicPr>
            <a:picLocks noChangeAspect="1"/>
          </p:cNvPicPr>
          <p:nvPr userDrawn="1"/>
        </p:nvPicPr>
        <p:blipFill>
          <a:blip r:embed="rId2"/>
          <a:stretch>
            <a:fillRect/>
          </a:stretch>
        </p:blipFill>
        <p:spPr>
          <a:xfrm>
            <a:off x="313617" y="3177802"/>
            <a:ext cx="1115936" cy="628597"/>
          </a:xfrm>
          <a:prstGeom prst="rect">
            <a:avLst/>
          </a:prstGeom>
        </p:spPr>
      </p:pic>
      <p:pic>
        <p:nvPicPr>
          <p:cNvPr id="16" name="Graphic 15">
            <a:extLst>
              <a:ext uri="{FF2B5EF4-FFF2-40B4-BE49-F238E27FC236}">
                <a16:creationId xmlns:a16="http://schemas.microsoft.com/office/drawing/2014/main" id="{1A9DC520-04E4-4556-A575-783FE3B0355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838000" y="1191473"/>
            <a:ext cx="6516000" cy="421638"/>
          </a:xfrm>
          <a:prstGeom prst="rect">
            <a:avLst/>
          </a:prstGeom>
        </p:spPr>
      </p:pic>
    </p:spTree>
    <p:extLst>
      <p:ext uri="{BB962C8B-B14F-4D97-AF65-F5344CB8AC3E}">
        <p14:creationId xmlns:p14="http://schemas.microsoft.com/office/powerpoint/2010/main" val="1222661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1689431" y="1653117"/>
            <a:ext cx="10188951" cy="4656667"/>
          </a:xfrm>
        </p:spPr>
        <p:txBody>
          <a:bodyPr/>
          <a:lstStyle>
            <a:lvl1pPr>
              <a:defRPr>
                <a:solidFill>
                  <a:schemeClr val="bg2"/>
                </a:solidFill>
              </a:defRPr>
            </a:lvl1pPr>
            <a:lvl6pPr>
              <a:buAutoNum type="arabicPeriod"/>
              <a:defRPr/>
            </a:lvl6pPr>
            <a:lvl8pPr marL="0" indent="0">
              <a:buFont typeface="+mj-lt"/>
              <a:buNone/>
              <a:defRPr/>
            </a:lvl8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8" name="Titel 7"/>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694747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1687968" y="1653117"/>
            <a:ext cx="5040000" cy="4656667"/>
          </a:xfrm>
        </p:spPr>
        <p:txBody>
          <a:bodyPr/>
          <a:lstStyle>
            <a:lvl1pPr>
              <a:defRPr baseline="0"/>
            </a:lvl1pPr>
            <a:lvl4pPr marL="1079973" marR="0" indent="-359991" algn="l" defTabSz="1219170" rtl="0" eaLnBrk="1" fontAlgn="base" latinLnBrk="0" hangingPunct="1">
              <a:lnSpc>
                <a:spcPct val="100000"/>
              </a:lnSpc>
              <a:spcBef>
                <a:spcPts val="333"/>
              </a:spcBef>
              <a:spcAft>
                <a:spcPct val="0"/>
              </a:spcAft>
              <a:buClr>
                <a:schemeClr val="bg2"/>
              </a:buClr>
              <a:buSzPct val="100000"/>
              <a:buFont typeface="Arial" pitchFamily="34" charset="0"/>
              <a:buChar char="−"/>
              <a:tabLst/>
              <a:defRPr/>
            </a:lvl4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9" name="Inhaltsplatzhalter 8"/>
          <p:cNvSpPr>
            <a:spLocks noGrp="1"/>
          </p:cNvSpPr>
          <p:nvPr>
            <p:ph sz="quarter" idx="14" hasCustomPrompt="1"/>
          </p:nvPr>
        </p:nvSpPr>
        <p:spPr>
          <a:xfrm>
            <a:off x="6838382" y="1653117"/>
            <a:ext cx="5040000" cy="4656667"/>
          </a:xfrm>
        </p:spPr>
        <p:txBody>
          <a:bodyPr/>
          <a:lstStyle>
            <a:lvl1pPr>
              <a:defRPr/>
            </a:lvl1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2" name="Titel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6886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Dreispaltig">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1687968" y="1653117"/>
            <a:ext cx="3312000" cy="4656667"/>
          </a:xfrm>
        </p:spPr>
        <p:txBody>
          <a:bodyPr/>
          <a:lstStyle>
            <a:lvl1pPr>
              <a:defRPr baseline="0"/>
            </a:lvl1pPr>
            <a:lvl4pPr marL="1079973" marR="0" indent="-359991" algn="l" defTabSz="1219170" rtl="0" eaLnBrk="1" fontAlgn="base" latinLnBrk="0" hangingPunct="1">
              <a:lnSpc>
                <a:spcPct val="100000"/>
              </a:lnSpc>
              <a:spcBef>
                <a:spcPts val="333"/>
              </a:spcBef>
              <a:spcAft>
                <a:spcPct val="0"/>
              </a:spcAft>
              <a:buClr>
                <a:schemeClr val="bg2"/>
              </a:buClr>
              <a:buSzPct val="100000"/>
              <a:buFont typeface="Arial" pitchFamily="34" charset="0"/>
              <a:buChar char="−"/>
              <a:tabLst/>
              <a:defRPr/>
            </a:lvl4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9" name="Inhaltsplatzhalter 8"/>
          <p:cNvSpPr>
            <a:spLocks noGrp="1"/>
          </p:cNvSpPr>
          <p:nvPr>
            <p:ph sz="quarter" idx="14" hasCustomPrompt="1"/>
          </p:nvPr>
        </p:nvSpPr>
        <p:spPr>
          <a:xfrm>
            <a:off x="5127175" y="1653117"/>
            <a:ext cx="3312000" cy="4656667"/>
          </a:xfrm>
        </p:spPr>
        <p:txBody>
          <a:bodyPr/>
          <a:lstStyle>
            <a:lvl1pPr>
              <a:defRPr/>
            </a:lvl1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8" name="Inhaltsplatzhalter 8"/>
          <p:cNvSpPr>
            <a:spLocks noGrp="1"/>
          </p:cNvSpPr>
          <p:nvPr>
            <p:ph sz="quarter" idx="15" hasCustomPrompt="1"/>
          </p:nvPr>
        </p:nvSpPr>
        <p:spPr>
          <a:xfrm>
            <a:off x="8566383" y="1653116"/>
            <a:ext cx="3312000" cy="4656667"/>
          </a:xfrm>
        </p:spPr>
        <p:txBody>
          <a:bodyPr/>
          <a:lstStyle>
            <a:lvl1pPr>
              <a:defRPr/>
            </a:lvl1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2" name="Titel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0972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1/3; 2/3">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1687968" y="1653117"/>
            <a:ext cx="3312000" cy="4656667"/>
          </a:xfrm>
        </p:spPr>
        <p:txBody>
          <a:bodyPr/>
          <a:lstStyle>
            <a:lvl1pPr>
              <a:defRPr baseline="0"/>
            </a:lvl1pPr>
            <a:lvl4pPr marL="1079973" marR="0" indent="-359991" algn="l" defTabSz="1219170" rtl="0" eaLnBrk="1" fontAlgn="base" latinLnBrk="0" hangingPunct="1">
              <a:lnSpc>
                <a:spcPct val="100000"/>
              </a:lnSpc>
              <a:spcBef>
                <a:spcPts val="333"/>
              </a:spcBef>
              <a:spcAft>
                <a:spcPct val="0"/>
              </a:spcAft>
              <a:buClr>
                <a:schemeClr val="bg2"/>
              </a:buClr>
              <a:buSzPct val="100000"/>
              <a:buFont typeface="Arial" pitchFamily="34" charset="0"/>
              <a:buChar char="−"/>
              <a:tabLst/>
              <a:defRPr/>
            </a:lvl4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8" name="Inhaltsplatzhalter 8"/>
          <p:cNvSpPr>
            <a:spLocks noGrp="1"/>
          </p:cNvSpPr>
          <p:nvPr>
            <p:ph sz="quarter" idx="15" hasCustomPrompt="1"/>
          </p:nvPr>
        </p:nvSpPr>
        <p:spPr>
          <a:xfrm>
            <a:off x="5127175" y="1653116"/>
            <a:ext cx="6751208" cy="4656667"/>
          </a:xfrm>
        </p:spPr>
        <p:txBody>
          <a:bodyPr/>
          <a:lstStyle>
            <a:lvl1pPr>
              <a:defRPr/>
            </a:lvl1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2" name="Titel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373756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2/3; 1/3">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1687967" y="1653117"/>
            <a:ext cx="6751207" cy="4656667"/>
          </a:xfrm>
        </p:spPr>
        <p:txBody>
          <a:bodyPr/>
          <a:lstStyle>
            <a:lvl1pPr>
              <a:defRPr baseline="0"/>
            </a:lvl1pPr>
            <a:lvl4pPr marL="1079973" marR="0" indent="-359991" algn="l" defTabSz="1219170" rtl="0" eaLnBrk="1" fontAlgn="base" latinLnBrk="0" hangingPunct="1">
              <a:lnSpc>
                <a:spcPct val="100000"/>
              </a:lnSpc>
              <a:spcBef>
                <a:spcPts val="333"/>
              </a:spcBef>
              <a:spcAft>
                <a:spcPct val="0"/>
              </a:spcAft>
              <a:buClr>
                <a:schemeClr val="bg2"/>
              </a:buClr>
              <a:buSzPct val="100000"/>
              <a:buFont typeface="Arial" pitchFamily="34" charset="0"/>
              <a:buChar char="−"/>
              <a:tabLst/>
              <a:defRPr/>
            </a:lvl4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8" name="Inhaltsplatzhalter 8"/>
          <p:cNvSpPr>
            <a:spLocks noGrp="1"/>
          </p:cNvSpPr>
          <p:nvPr>
            <p:ph sz="quarter" idx="15" hasCustomPrompt="1"/>
          </p:nvPr>
        </p:nvSpPr>
        <p:spPr>
          <a:xfrm>
            <a:off x="8566383" y="1653116"/>
            <a:ext cx="3312000" cy="4656667"/>
          </a:xfrm>
        </p:spPr>
        <p:txBody>
          <a:bodyPr/>
          <a:lstStyle>
            <a:lvl1pPr>
              <a:defRPr/>
            </a:lvl1pPr>
            <a:lvl6pPr>
              <a:buAutoNum type="arabicPeriod"/>
              <a:defRPr/>
            </a:lvl6pPr>
          </a:lstStyle>
          <a:p>
            <a:pPr lvl="0"/>
            <a:r>
              <a:rPr lang="de-CH" noProof="0"/>
              <a:t>Bei Aufzählungen NICHT die Buttons oben im Menü verwenden, sondern jede Textzeile komplett markieren und mit der Tabulator-Taste oder </a:t>
            </a:r>
            <a:r>
              <a:rPr lang="de-CH" noProof="0" err="1"/>
              <a:t>Shift+Tab</a:t>
            </a:r>
            <a:r>
              <a:rPr lang="de-CH" noProof="0"/>
              <a:t> die Ebene verändern (erst erscheinen </a:t>
            </a:r>
            <a:r>
              <a:rPr lang="de-CH" noProof="0" err="1"/>
              <a:t>Bulletpoints</a:t>
            </a:r>
            <a:r>
              <a:rPr lang="de-CH" noProof="0"/>
              <a:t>, dann Nummerierungen).</a:t>
            </a:r>
            <a:endParaRPr lang="en-US" noProof="0"/>
          </a:p>
        </p:txBody>
      </p:sp>
      <p:sp>
        <p:nvSpPr>
          <p:cNvPr id="2" name="Titel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9244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xml"/><Relationship Id="rId3" Type="http://schemas.openxmlformats.org/officeDocument/2006/relationships/slideLayout" Target="../slideLayouts/slideLayout17.xml"/><Relationship Id="rId21" Type="http://schemas.openxmlformats.org/officeDocument/2006/relationships/image" Target="../media/image7.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vmlDrawing" Target="../drawings/vmlDrawing1.vml"/><Relationship Id="rId2" Type="http://schemas.openxmlformats.org/officeDocument/2006/relationships/slideLayout" Target="../slideLayouts/slideLayout16.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ags" Target="../tags/tag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1689431" y="1659465"/>
            <a:ext cx="10188951" cy="465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noProof="0"/>
              <a:t>Stufe 1 - Text</a:t>
            </a:r>
          </a:p>
          <a:p>
            <a:pPr lvl="1"/>
            <a:r>
              <a:rPr lang="de-CH" noProof="0"/>
              <a:t>Stufe 2 - Aufzählung Ebene 1</a:t>
            </a:r>
          </a:p>
          <a:p>
            <a:pPr lvl="2"/>
            <a:r>
              <a:rPr lang="de-CH" noProof="0"/>
              <a:t>Stufe 3 - Aufzählung Ebene 2</a:t>
            </a:r>
          </a:p>
          <a:p>
            <a:pPr lvl="3"/>
            <a:r>
              <a:rPr lang="de-CH" noProof="0"/>
              <a:t>Stufe 4 - Aufzählung Ebene 3</a:t>
            </a:r>
          </a:p>
          <a:p>
            <a:pPr lvl="4"/>
            <a:r>
              <a:rPr lang="de-CH" noProof="0"/>
              <a:t>Stufe 5 - Nummerierung Ebene 1</a:t>
            </a:r>
          </a:p>
          <a:p>
            <a:pPr lvl="5"/>
            <a:r>
              <a:rPr lang="de-CH" noProof="0"/>
              <a:t>Stufe 6 - Nummerierung Ebene 2</a:t>
            </a:r>
          </a:p>
          <a:p>
            <a:pPr lvl="6"/>
            <a:r>
              <a:rPr lang="de-CH" noProof="0"/>
              <a:t>Stufe 7 - Nummerierung Ebene </a:t>
            </a:r>
            <a:r>
              <a:rPr lang="en-US" noProof="0"/>
              <a:t>3</a:t>
            </a:r>
          </a:p>
          <a:p>
            <a:pPr lvl="7"/>
            <a:r>
              <a:rPr lang="de-CH" noProof="0"/>
              <a:t>Stufe 8 - Text</a:t>
            </a:r>
            <a:endParaRPr lang="en-US" noProof="0"/>
          </a:p>
          <a:p>
            <a:pPr lvl="8"/>
            <a:r>
              <a:rPr lang="en-US" noProof="0" err="1"/>
              <a:t>Stufe</a:t>
            </a:r>
            <a:r>
              <a:rPr lang="en-US" noProof="0"/>
              <a:t> 9 - Text</a:t>
            </a:r>
          </a:p>
        </p:txBody>
      </p:sp>
      <p:sp>
        <p:nvSpPr>
          <p:cNvPr id="10" name="object 45"/>
          <p:cNvSpPr/>
          <p:nvPr userDrawn="1"/>
        </p:nvSpPr>
        <p:spPr>
          <a:xfrm flipV="1">
            <a:off x="1822449" y="100331"/>
            <a:ext cx="45719" cy="45719"/>
          </a:xfrm>
          <a:custGeom>
            <a:avLst/>
            <a:gdLst/>
            <a:ahLst/>
            <a:cxnLst/>
            <a:rect l="l" t="t" r="r" b="b"/>
            <a:pathLst>
              <a:path h="986155">
                <a:moveTo>
                  <a:pt x="0" y="0"/>
                </a:moveTo>
                <a:lnTo>
                  <a:pt x="0" y="985785"/>
                </a:lnTo>
              </a:path>
            </a:pathLst>
          </a:custGeom>
          <a:ln w="12700">
            <a:solidFill>
              <a:srgbClr val="EAEAEA"/>
            </a:solidFill>
          </a:ln>
        </p:spPr>
        <p:txBody>
          <a:bodyPr wrap="square" lIns="0" tIns="0" rIns="0" bIns="0" rtlCol="0"/>
          <a:lstStyle/>
          <a:p>
            <a:endParaRPr/>
          </a:p>
        </p:txBody>
      </p:sp>
      <p:pic>
        <p:nvPicPr>
          <p:cNvPr id="8" name="Bild 8"/>
          <p:cNvPicPr>
            <a:picLocks noChangeAspect="1"/>
          </p:cNvPicPr>
          <p:nvPr userDrawn="1"/>
        </p:nvPicPr>
        <p:blipFill>
          <a:blip r:embed="rId16"/>
          <a:stretch>
            <a:fillRect/>
          </a:stretch>
        </p:blipFill>
        <p:spPr>
          <a:xfrm>
            <a:off x="313617" y="348552"/>
            <a:ext cx="1115936" cy="628597"/>
          </a:xfrm>
          <a:prstGeom prst="rect">
            <a:avLst/>
          </a:prstGeom>
        </p:spPr>
      </p:pic>
      <p:sp>
        <p:nvSpPr>
          <p:cNvPr id="2" name="Titelplatzhalter 1"/>
          <p:cNvSpPr>
            <a:spLocks noGrp="1"/>
          </p:cNvSpPr>
          <p:nvPr>
            <p:ph type="title"/>
          </p:nvPr>
        </p:nvSpPr>
        <p:spPr>
          <a:xfrm>
            <a:off x="1689431" y="504150"/>
            <a:ext cx="10188951" cy="571321"/>
          </a:xfrm>
          <a:prstGeom prst="rect">
            <a:avLst/>
          </a:prstGeom>
        </p:spPr>
        <p:txBody>
          <a:bodyPr vert="horz" lIns="0" tIns="0" rIns="0" bIns="0" rtlCol="0" anchor="b">
            <a:normAutofit/>
          </a:bodyPr>
          <a:lstStyle/>
          <a:p>
            <a:r>
              <a:rPr lang="de-DE"/>
              <a:t>Titelmasterformat durch Klicken bearbeiten</a:t>
            </a:r>
            <a:endParaRPr lang="en-GB"/>
          </a:p>
        </p:txBody>
      </p:sp>
    </p:spTree>
  </p:cSld>
  <p:clrMap bg1="lt1" tx1="dk1" bg2="lt2" tx2="dk2" accent1="accent1" accent2="accent2" accent3="accent3" accent4="accent4" accent5="accent5" accent6="accent6" hlink="hlink" folHlink="folHlink"/>
  <p:sldLayoutIdLst>
    <p:sldLayoutId id="2147483699" r:id="rId1"/>
    <p:sldLayoutId id="2147483733" r:id="rId2"/>
    <p:sldLayoutId id="2147483714" r:id="rId3"/>
    <p:sldLayoutId id="2147483715" r:id="rId4"/>
    <p:sldLayoutId id="2147483704" r:id="rId5"/>
    <p:sldLayoutId id="2147483705" r:id="rId6"/>
    <p:sldLayoutId id="2147483730" r:id="rId7"/>
    <p:sldLayoutId id="2147483731" r:id="rId8"/>
    <p:sldLayoutId id="2147483732" r:id="rId9"/>
    <p:sldLayoutId id="2147483729" r:id="rId10"/>
    <p:sldLayoutId id="2147483706" r:id="rId11"/>
    <p:sldLayoutId id="2147483734" r:id="rId12"/>
    <p:sldLayoutId id="2147483736" r:id="rId13"/>
    <p:sldLayoutId id="2147483737" r:id="rId14"/>
  </p:sldLayoutIdLst>
  <p:hf hdr="0" ftr="0" dt="0"/>
  <p:txStyles>
    <p:titleStyle>
      <a:lvl1pPr algn="l" rtl="0" eaLnBrk="1" fontAlgn="base" hangingPunct="1">
        <a:lnSpc>
          <a:spcPts val="3800"/>
        </a:lnSpc>
        <a:spcBef>
          <a:spcPct val="0"/>
        </a:spcBef>
        <a:spcAft>
          <a:spcPct val="0"/>
        </a:spcAft>
        <a:defRPr sz="3400" b="0" i="0" cap="none" spc="0" baseline="0">
          <a:solidFill>
            <a:schemeClr val="bg2"/>
          </a:solidFill>
          <a:latin typeface="Arial"/>
          <a:ea typeface="+mj-ea"/>
          <a:cs typeface="Arial"/>
        </a:defRPr>
      </a:lvl1pPr>
      <a:lvl2pPr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2pPr>
      <a:lvl3pPr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3pPr>
      <a:lvl4pPr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4pPr>
      <a:lvl5pPr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5pPr>
      <a:lvl6pPr marL="609585"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6pPr>
      <a:lvl7pPr marL="1219170"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7pPr>
      <a:lvl8pPr marL="1828754"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8pPr>
      <a:lvl9pPr marL="2438339" algn="l" rtl="0" eaLnBrk="1" fontAlgn="base" hangingPunct="1">
        <a:spcBef>
          <a:spcPct val="0"/>
        </a:spcBef>
        <a:spcAft>
          <a:spcPct val="0"/>
        </a:spcAft>
        <a:defRPr sz="3467">
          <a:solidFill>
            <a:schemeClr val="tx1"/>
          </a:solidFill>
          <a:latin typeface="Segoe UI" pitchFamily="-128" charset="0"/>
          <a:ea typeface="ＭＳ Ｐゴシック" pitchFamily="-128" charset="-128"/>
          <a:cs typeface="ＭＳ Ｐゴシック" pitchFamily="-128" charset="-128"/>
        </a:defRPr>
      </a:lvl9pPr>
    </p:titleStyle>
    <p:bodyStyle>
      <a:lvl1pPr marL="0" indent="0" algn="l" rtl="0" eaLnBrk="1" fontAlgn="base" hangingPunct="1">
        <a:spcBef>
          <a:spcPts val="667"/>
        </a:spcBef>
        <a:spcAft>
          <a:spcPct val="0"/>
        </a:spcAft>
        <a:buClr>
          <a:schemeClr val="bg2"/>
        </a:buClr>
        <a:buFontTx/>
        <a:buNone/>
        <a:defRPr sz="1800" baseline="0">
          <a:solidFill>
            <a:schemeClr val="bg2"/>
          </a:solidFill>
          <a:latin typeface="+mj-lt"/>
          <a:ea typeface="+mn-ea"/>
          <a:cs typeface="Arial" panose="020B0604020202020204" pitchFamily="34" charset="0"/>
        </a:defRPr>
      </a:lvl1pPr>
      <a:lvl2pPr marL="359991" indent="-359991" algn="l" rtl="0" eaLnBrk="1" fontAlgn="base" hangingPunct="1">
        <a:spcBef>
          <a:spcPts val="667"/>
        </a:spcBef>
        <a:spcAft>
          <a:spcPct val="0"/>
        </a:spcAft>
        <a:buClr>
          <a:schemeClr val="accent1"/>
        </a:buClr>
        <a:buFont typeface="Arial" pitchFamily="34" charset="0"/>
        <a:buChar char="•"/>
        <a:defRPr sz="1800">
          <a:solidFill>
            <a:schemeClr val="bg2"/>
          </a:solidFill>
          <a:latin typeface="+mj-lt"/>
          <a:ea typeface="+mn-ea"/>
          <a:cs typeface="Arial" panose="020B0604020202020204" pitchFamily="34" charset="0"/>
        </a:defRPr>
      </a:lvl2pPr>
      <a:lvl3pPr marL="719982" indent="-359991" algn="l" rtl="0" eaLnBrk="1" fontAlgn="base" hangingPunct="1">
        <a:spcBef>
          <a:spcPts val="667"/>
        </a:spcBef>
        <a:spcAft>
          <a:spcPct val="0"/>
        </a:spcAft>
        <a:buClr>
          <a:schemeClr val="accent1"/>
        </a:buClr>
        <a:buFont typeface="Courier New" pitchFamily="49" charset="0"/>
        <a:buChar char="o"/>
        <a:defRPr sz="1800">
          <a:solidFill>
            <a:schemeClr val="bg2"/>
          </a:solidFill>
          <a:latin typeface="+mj-lt"/>
          <a:ea typeface="+mn-ea"/>
          <a:cs typeface="Arial" panose="020B0604020202020204" pitchFamily="34" charset="0"/>
        </a:defRPr>
      </a:lvl3pPr>
      <a:lvl4pPr marL="1079973" indent="-359991" algn="l" rtl="0" eaLnBrk="1" fontAlgn="base" hangingPunct="1">
        <a:spcBef>
          <a:spcPts val="333"/>
        </a:spcBef>
        <a:spcAft>
          <a:spcPct val="0"/>
        </a:spcAft>
        <a:buClr>
          <a:schemeClr val="accent1"/>
        </a:buClr>
        <a:buSzPct val="100000"/>
        <a:buFont typeface="Arial" pitchFamily="34" charset="0"/>
        <a:buChar char="−"/>
        <a:defRPr sz="1400" baseline="0">
          <a:solidFill>
            <a:schemeClr val="bg2"/>
          </a:solidFill>
          <a:latin typeface="+mj-lt"/>
          <a:ea typeface="+mn-ea"/>
          <a:cs typeface="Arial" panose="020B0604020202020204" pitchFamily="34" charset="0"/>
        </a:defRPr>
      </a:lvl4pPr>
      <a:lvl5pPr marL="0" indent="-359991" algn="l" rtl="0" eaLnBrk="1" fontAlgn="base" hangingPunct="1">
        <a:spcBef>
          <a:spcPts val="667"/>
        </a:spcBef>
        <a:spcAft>
          <a:spcPct val="0"/>
        </a:spcAft>
        <a:buClr>
          <a:schemeClr val="accent1"/>
        </a:buClr>
        <a:buFont typeface="+mj-lt"/>
        <a:buAutoNum type="arabicPeriod"/>
        <a:defRPr sz="1800">
          <a:solidFill>
            <a:schemeClr val="bg2"/>
          </a:solidFill>
          <a:latin typeface="+mj-lt"/>
          <a:ea typeface="+mn-ea"/>
          <a:cs typeface="Arial" panose="020B0604020202020204" pitchFamily="34" charset="0"/>
        </a:defRPr>
      </a:lvl5pPr>
      <a:lvl6pPr marL="719982" indent="-359991" algn="l" rtl="0" eaLnBrk="1" fontAlgn="base" hangingPunct="1">
        <a:spcBef>
          <a:spcPts val="667"/>
        </a:spcBef>
        <a:spcAft>
          <a:spcPct val="0"/>
        </a:spcAft>
        <a:buClr>
          <a:schemeClr val="accent1"/>
        </a:buClr>
        <a:buFont typeface="+mj-lt"/>
        <a:buAutoNum type="arabicPeriod"/>
        <a:defRPr sz="1800">
          <a:solidFill>
            <a:schemeClr val="bg2"/>
          </a:solidFill>
          <a:latin typeface="+mj-lt"/>
          <a:ea typeface="+mn-ea"/>
          <a:cs typeface="Arial" panose="020B0604020202020204" pitchFamily="34" charset="0"/>
        </a:defRPr>
      </a:lvl6pPr>
      <a:lvl7pPr marL="1079973" indent="-359991" algn="l" rtl="0" eaLnBrk="1" fontAlgn="base" hangingPunct="1">
        <a:spcBef>
          <a:spcPts val="333"/>
        </a:spcBef>
        <a:spcAft>
          <a:spcPct val="0"/>
        </a:spcAft>
        <a:buClr>
          <a:schemeClr val="accent1"/>
        </a:buClr>
        <a:buFont typeface="+mj-lt"/>
        <a:buAutoNum type="arabicPeriod"/>
        <a:defRPr sz="1400" baseline="0">
          <a:solidFill>
            <a:schemeClr val="bg2"/>
          </a:solidFill>
          <a:latin typeface="+mj-lt"/>
          <a:ea typeface="+mn-ea"/>
          <a:cs typeface="Arial" panose="020B0604020202020204" pitchFamily="34" charset="0"/>
        </a:defRPr>
      </a:lvl7pPr>
      <a:lvl8pPr marL="0" indent="0" algn="l" rtl="0" eaLnBrk="1" fontAlgn="base" hangingPunct="1">
        <a:spcBef>
          <a:spcPts val="667"/>
        </a:spcBef>
        <a:spcAft>
          <a:spcPct val="0"/>
        </a:spcAft>
        <a:buClr>
          <a:srgbClr val="C00000"/>
        </a:buClr>
        <a:buFont typeface="+mj-lt"/>
        <a:buNone/>
        <a:tabLst>
          <a:tab pos="958827" algn="l"/>
        </a:tabLst>
        <a:defRPr sz="1800" baseline="0">
          <a:solidFill>
            <a:schemeClr val="bg2"/>
          </a:solidFill>
          <a:latin typeface="+mj-lt"/>
          <a:ea typeface="+mn-ea"/>
        </a:defRPr>
      </a:lvl8pPr>
      <a:lvl9pPr marL="0" indent="0" algn="l" rtl="0" eaLnBrk="1" fontAlgn="base" hangingPunct="1">
        <a:spcBef>
          <a:spcPts val="667"/>
        </a:spcBef>
        <a:spcAft>
          <a:spcPct val="0"/>
        </a:spcAft>
        <a:defRPr sz="1800">
          <a:solidFill>
            <a:schemeClr val="bg2"/>
          </a:solidFill>
          <a:latin typeface="+mj-lt"/>
          <a:ea typeface="+mn-ea"/>
          <a:cs typeface="Arial" pitchFamily="34" charset="0"/>
        </a:defRPr>
      </a:lvl9pPr>
    </p:bodyStyle>
    <p:otherStyle>
      <a:defPPr>
        <a:defRPr lang="de-DE"/>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41"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9"/>
            </p:custDataLst>
            <p:extLst>
              <p:ext uri="{D42A27DB-BD31-4B8C-83A1-F6EECF244321}">
                <p14:modId xmlns:p14="http://schemas.microsoft.com/office/powerpoint/2010/main" val="1071061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1028" name="think-cell Folie" r:id="rId20" imgW="270" imgH="270" progId="TCLayout.ActiveDocument.1">
                  <p:embed/>
                </p:oleObj>
              </mc:Choice>
              <mc:Fallback>
                <p:oleObj name="think-cell Folie" r:id="rId20" imgW="270" imgH="270" progId="TCLayout.ActiveDocument.1">
                  <p:embed/>
                  <p:pic>
                    <p:nvPicPr>
                      <p:cNvPr id="14" name="Objekt 13" hidden="1"/>
                      <p:cNvPicPr/>
                      <p:nvPr/>
                    </p:nvPicPr>
                    <p:blipFill>
                      <a:blip r:embed="rId21"/>
                      <a:stretch>
                        <a:fillRect/>
                      </a:stretch>
                    </p:blipFill>
                    <p:spPr>
                      <a:xfrm>
                        <a:off x="2122" y="1589"/>
                        <a:ext cx="2116" cy="1587"/>
                      </a:xfrm>
                      <a:prstGeom prst="rect">
                        <a:avLst/>
                      </a:prstGeom>
                    </p:spPr>
                  </p:pic>
                </p:oleObj>
              </mc:Fallback>
            </mc:AlternateContent>
          </a:graphicData>
        </a:graphic>
      </p:graphicFrame>
      <p:sp>
        <p:nvSpPr>
          <p:cNvPr id="2" name="Titelplatzhalter 1"/>
          <p:cNvSpPr>
            <a:spLocks noGrp="1"/>
          </p:cNvSpPr>
          <p:nvPr>
            <p:ph type="title"/>
          </p:nvPr>
        </p:nvSpPr>
        <p:spPr>
          <a:xfrm>
            <a:off x="960967" y="499018"/>
            <a:ext cx="10270067" cy="492443"/>
          </a:xfrm>
          <a:prstGeom prst="rect">
            <a:avLst/>
          </a:prstGeom>
        </p:spPr>
        <p:txBody>
          <a:bodyPr vert="horz" wrap="square" lIns="0" tIns="0" rIns="0" bIns="0" rtlCol="0" anchor="t">
            <a:spAutoFit/>
          </a:bodyPr>
          <a:lstStyle/>
          <a:p>
            <a:r>
              <a:rPr lang="de-DE"/>
              <a:t>Titelmasterformat durch Klicken bearbeiten</a:t>
            </a:r>
          </a:p>
        </p:txBody>
      </p:sp>
      <p:sp>
        <p:nvSpPr>
          <p:cNvPr id="3" name="Textplatzhalter 2"/>
          <p:cNvSpPr>
            <a:spLocks noGrp="1"/>
          </p:cNvSpPr>
          <p:nvPr>
            <p:ph type="body" idx="1"/>
          </p:nvPr>
        </p:nvSpPr>
        <p:spPr>
          <a:xfrm>
            <a:off x="960967" y="1111794"/>
            <a:ext cx="10270067" cy="4832351"/>
          </a:xfrm>
          <a:prstGeom prst="rect">
            <a:avLst/>
          </a:prstGeom>
        </p:spPr>
        <p:txBody>
          <a:bodyPr vert="horz" wrap="square" lIns="0" tIns="0" rIns="0" bIns="0" rtlCol="0">
            <a:noAutofit/>
          </a:bodyPr>
          <a:lstStyle/>
          <a:p>
            <a:pPr lvl="0"/>
            <a:r>
              <a:rPr lang="de-DE"/>
              <a:t>Textmasterformat bearbeiten</a:t>
            </a:r>
          </a:p>
          <a:p>
            <a:pPr lvl="1"/>
            <a:r>
              <a:rPr lang="de-DE"/>
              <a:t>Erste Ebene</a:t>
            </a:r>
          </a:p>
          <a:p>
            <a:pPr lvl="2"/>
            <a:r>
              <a:rPr lang="de-DE"/>
              <a:t>Zweite Ebene</a:t>
            </a:r>
          </a:p>
          <a:p>
            <a:pPr lvl="3"/>
            <a:r>
              <a:rPr lang="de-DE"/>
              <a:t>Dritte Ebene</a:t>
            </a:r>
          </a:p>
        </p:txBody>
      </p:sp>
      <p:grpSp>
        <p:nvGrpSpPr>
          <p:cNvPr id="29" name="Gruppieren 28"/>
          <p:cNvGrpSpPr/>
          <p:nvPr/>
        </p:nvGrpSpPr>
        <p:grpSpPr>
          <a:xfrm>
            <a:off x="-482599" y="-311944"/>
            <a:ext cx="13068300" cy="7553327"/>
            <a:chOff x="-361950" y="-311945"/>
            <a:chExt cx="9801225" cy="7553326"/>
          </a:xfrm>
        </p:grpSpPr>
        <p:cxnSp>
          <p:nvCxnSpPr>
            <p:cNvPr id="28" name="Gerade Verbindung 27"/>
            <p:cNvCxnSpPr/>
            <p:nvPr userDrawn="1"/>
          </p:nvCxnSpPr>
          <p:spPr>
            <a:xfrm flipH="1">
              <a:off x="-361950" y="10080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a:xfrm flipH="1">
              <a:off x="-361950" y="162083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a:xfrm flipH="1">
              <a:off x="-361950" y="645318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a:xfrm flipH="1">
              <a:off x="9239250" y="10080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flipH="1">
              <a:off x="9239250" y="162083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flipH="1">
              <a:off x="9239250" y="6453188"/>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16200000" flipH="1">
              <a:off x="620713"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6200000" flipH="1">
              <a:off x="4111626"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a:xfrm rot="16200000" flipH="1">
              <a:off x="4830763"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a:xfrm rot="16200000" flipH="1">
              <a:off x="8323263"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6200000" flipH="1">
              <a:off x="8794751" y="-211932"/>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a:xfrm rot="16200000" flipH="1">
              <a:off x="620713"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a:xfrm rot="16200000" flipH="1">
              <a:off x="4111626"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a:xfrm rot="16200000" flipH="1">
              <a:off x="4830763"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16200000" flipH="1">
              <a:off x="8323263"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rot="16200000" flipH="1">
              <a:off x="8794751" y="7141369"/>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a:xfrm flipH="1">
              <a:off x="-361950" y="19859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flipH="1">
              <a:off x="9239250" y="1985963"/>
              <a:ext cx="20002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7" name="Gruppieren 46"/>
          <p:cNvGrpSpPr/>
          <p:nvPr/>
        </p:nvGrpSpPr>
        <p:grpSpPr>
          <a:xfrm>
            <a:off x="11231035" y="122515"/>
            <a:ext cx="626533" cy="258975"/>
            <a:chOff x="5810250" y="2559051"/>
            <a:chExt cx="3027363" cy="1668463"/>
          </a:xfrm>
          <a:solidFill>
            <a:schemeClr val="bg1"/>
          </a:solidFill>
        </p:grpSpPr>
        <p:sp>
          <p:nvSpPr>
            <p:cNvPr id="48" name="Freeform 23"/>
            <p:cNvSpPr>
              <a:spLocks noEditPoints="1"/>
            </p:cNvSpPr>
            <p:nvPr userDrawn="1"/>
          </p:nvSpPr>
          <p:spPr bwMode="auto">
            <a:xfrm>
              <a:off x="5810250" y="2559051"/>
              <a:ext cx="3027363" cy="1176338"/>
            </a:xfrm>
            <a:custGeom>
              <a:avLst/>
              <a:gdLst>
                <a:gd name="T0" fmla="*/ 2943 w 3815"/>
                <a:gd name="T1" fmla="*/ 240 h 1482"/>
                <a:gd name="T2" fmla="*/ 2963 w 3815"/>
                <a:gd name="T3" fmla="*/ 1274 h 1482"/>
                <a:gd name="T4" fmla="*/ 3042 w 3815"/>
                <a:gd name="T5" fmla="*/ 1262 h 1482"/>
                <a:gd name="T6" fmla="*/ 3042 w 3815"/>
                <a:gd name="T7" fmla="*/ 224 h 1482"/>
                <a:gd name="T8" fmla="*/ 1372 w 3815"/>
                <a:gd name="T9" fmla="*/ 199 h 1482"/>
                <a:gd name="T10" fmla="*/ 1334 w 3815"/>
                <a:gd name="T11" fmla="*/ 652 h 1482"/>
                <a:gd name="T12" fmla="*/ 1422 w 3815"/>
                <a:gd name="T13" fmla="*/ 207 h 1482"/>
                <a:gd name="T14" fmla="*/ 207 w 3815"/>
                <a:gd name="T15" fmla="*/ 207 h 1482"/>
                <a:gd name="T16" fmla="*/ 297 w 3815"/>
                <a:gd name="T17" fmla="*/ 651 h 1482"/>
                <a:gd name="T18" fmla="*/ 258 w 3815"/>
                <a:gd name="T19" fmla="*/ 199 h 1482"/>
                <a:gd name="T20" fmla="*/ 2477 w 3815"/>
                <a:gd name="T21" fmla="*/ 648 h 1482"/>
                <a:gd name="T22" fmla="*/ 2477 w 3815"/>
                <a:gd name="T23" fmla="*/ 842 h 1482"/>
                <a:gd name="T24" fmla="*/ 1677 w 3815"/>
                <a:gd name="T25" fmla="*/ 29 h 1482"/>
                <a:gd name="T26" fmla="*/ 1810 w 3815"/>
                <a:gd name="T27" fmla="*/ 1458 h 1482"/>
                <a:gd name="T28" fmla="*/ 856 w 3815"/>
                <a:gd name="T29" fmla="*/ 9 h 1482"/>
                <a:gd name="T30" fmla="*/ 1012 w 3815"/>
                <a:gd name="T31" fmla="*/ 109 h 1482"/>
                <a:gd name="T32" fmla="*/ 1059 w 3815"/>
                <a:gd name="T33" fmla="*/ 510 h 1482"/>
                <a:gd name="T34" fmla="*/ 848 w 3815"/>
                <a:gd name="T35" fmla="*/ 211 h 1482"/>
                <a:gd name="T36" fmla="*/ 771 w 3815"/>
                <a:gd name="T37" fmla="*/ 225 h 1482"/>
                <a:gd name="T38" fmla="*/ 771 w 3815"/>
                <a:gd name="T39" fmla="*/ 1262 h 1482"/>
                <a:gd name="T40" fmla="*/ 849 w 3815"/>
                <a:gd name="T41" fmla="*/ 1274 h 1482"/>
                <a:gd name="T42" fmla="*/ 804 w 3815"/>
                <a:gd name="T43" fmla="*/ 845 h 1482"/>
                <a:gd name="T44" fmla="*/ 1046 w 3815"/>
                <a:gd name="T45" fmla="*/ 1306 h 1482"/>
                <a:gd name="T46" fmla="*/ 928 w 3815"/>
                <a:gd name="T47" fmla="*/ 1453 h 1482"/>
                <a:gd name="T48" fmla="*/ 740 w 3815"/>
                <a:gd name="T49" fmla="*/ 1469 h 1482"/>
                <a:gd name="T50" fmla="*/ 601 w 3815"/>
                <a:gd name="T51" fmla="*/ 1343 h 1482"/>
                <a:gd name="T52" fmla="*/ 578 w 3815"/>
                <a:gd name="T53" fmla="*/ 220 h 1482"/>
                <a:gd name="T54" fmla="*/ 673 w 3815"/>
                <a:gd name="T55" fmla="*/ 54 h 1482"/>
                <a:gd name="T56" fmla="*/ 2998 w 3815"/>
                <a:gd name="T57" fmla="*/ 4 h 1482"/>
                <a:gd name="T58" fmla="*/ 3168 w 3815"/>
                <a:gd name="T59" fmla="*/ 79 h 1482"/>
                <a:gd name="T60" fmla="*/ 3239 w 3815"/>
                <a:gd name="T61" fmla="*/ 261 h 1482"/>
                <a:gd name="T62" fmla="*/ 3192 w 3815"/>
                <a:gd name="T63" fmla="*/ 1376 h 1482"/>
                <a:gd name="T64" fmla="*/ 3037 w 3815"/>
                <a:gd name="T65" fmla="*/ 1478 h 1482"/>
                <a:gd name="T66" fmla="*/ 2854 w 3815"/>
                <a:gd name="T67" fmla="*/ 1432 h 1482"/>
                <a:gd name="T68" fmla="*/ 2759 w 3815"/>
                <a:gd name="T69" fmla="*/ 1266 h 1482"/>
                <a:gd name="T70" fmla="*/ 2782 w 3815"/>
                <a:gd name="T71" fmla="*/ 143 h 1482"/>
                <a:gd name="T72" fmla="*/ 2921 w 3815"/>
                <a:gd name="T73" fmla="*/ 17 h 1482"/>
                <a:gd name="T74" fmla="*/ 1468 w 3815"/>
                <a:gd name="T75" fmla="*/ 14 h 1482"/>
                <a:gd name="T76" fmla="*/ 1606 w 3815"/>
                <a:gd name="T77" fmla="*/ 141 h 1482"/>
                <a:gd name="T78" fmla="*/ 1445 w 3815"/>
                <a:gd name="T79" fmla="*/ 1458 h 1482"/>
                <a:gd name="T80" fmla="*/ 1150 w 3815"/>
                <a:gd name="T81" fmla="*/ 259 h 1482"/>
                <a:gd name="T82" fmla="*/ 1220 w 3815"/>
                <a:gd name="T83" fmla="*/ 77 h 1482"/>
                <a:gd name="T84" fmla="*/ 1392 w 3815"/>
                <a:gd name="T85" fmla="*/ 2 h 1482"/>
                <a:gd name="T86" fmla="*/ 386 w 3815"/>
                <a:gd name="T87" fmla="*/ 51 h 1482"/>
                <a:gd name="T88" fmla="*/ 482 w 3815"/>
                <a:gd name="T89" fmla="*/ 217 h 1482"/>
                <a:gd name="T90" fmla="*/ 185 w 3815"/>
                <a:gd name="T91" fmla="*/ 845 h 1482"/>
                <a:gd name="T92" fmla="*/ 13 w 3815"/>
                <a:gd name="T93" fmla="*/ 178 h 1482"/>
                <a:gd name="T94" fmla="*/ 132 w 3815"/>
                <a:gd name="T95" fmla="*/ 31 h 1482"/>
                <a:gd name="T96" fmla="*/ 3573 w 3815"/>
                <a:gd name="T97" fmla="*/ 0 h 1482"/>
                <a:gd name="T98" fmla="*/ 3744 w 3815"/>
                <a:gd name="T99" fmla="*/ 76 h 1482"/>
                <a:gd name="T100" fmla="*/ 3815 w 3815"/>
                <a:gd name="T101" fmla="*/ 257 h 1482"/>
                <a:gd name="T102" fmla="*/ 3617 w 3815"/>
                <a:gd name="T103" fmla="*/ 221 h 1482"/>
                <a:gd name="T104" fmla="*/ 3539 w 3815"/>
                <a:gd name="T105" fmla="*/ 207 h 1482"/>
                <a:gd name="T106" fmla="*/ 3330 w 3815"/>
                <a:gd name="T107" fmla="*/ 1458 h 1482"/>
                <a:gd name="T108" fmla="*/ 3378 w 3815"/>
                <a:gd name="T109" fmla="*/ 105 h 1482"/>
                <a:gd name="T110" fmla="*/ 3533 w 3815"/>
                <a:gd name="T111" fmla="*/ 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5" h="1482">
                  <a:moveTo>
                    <a:pt x="2997" y="200"/>
                  </a:moveTo>
                  <a:lnTo>
                    <a:pt x="2979" y="203"/>
                  </a:lnTo>
                  <a:lnTo>
                    <a:pt x="2963" y="211"/>
                  </a:lnTo>
                  <a:lnTo>
                    <a:pt x="2951" y="224"/>
                  </a:lnTo>
                  <a:lnTo>
                    <a:pt x="2943" y="240"/>
                  </a:lnTo>
                  <a:lnTo>
                    <a:pt x="2941" y="259"/>
                  </a:lnTo>
                  <a:lnTo>
                    <a:pt x="2941" y="1227"/>
                  </a:lnTo>
                  <a:lnTo>
                    <a:pt x="2943" y="1245"/>
                  </a:lnTo>
                  <a:lnTo>
                    <a:pt x="2951" y="1262"/>
                  </a:lnTo>
                  <a:lnTo>
                    <a:pt x="2963" y="1274"/>
                  </a:lnTo>
                  <a:lnTo>
                    <a:pt x="2979" y="1282"/>
                  </a:lnTo>
                  <a:lnTo>
                    <a:pt x="2997" y="1286"/>
                  </a:lnTo>
                  <a:lnTo>
                    <a:pt x="3014" y="1282"/>
                  </a:lnTo>
                  <a:lnTo>
                    <a:pt x="3029" y="1274"/>
                  </a:lnTo>
                  <a:lnTo>
                    <a:pt x="3042" y="1262"/>
                  </a:lnTo>
                  <a:lnTo>
                    <a:pt x="3050" y="1245"/>
                  </a:lnTo>
                  <a:lnTo>
                    <a:pt x="3052" y="1227"/>
                  </a:lnTo>
                  <a:lnTo>
                    <a:pt x="3052" y="259"/>
                  </a:lnTo>
                  <a:lnTo>
                    <a:pt x="3050" y="240"/>
                  </a:lnTo>
                  <a:lnTo>
                    <a:pt x="3042" y="224"/>
                  </a:lnTo>
                  <a:lnTo>
                    <a:pt x="3029" y="211"/>
                  </a:lnTo>
                  <a:lnTo>
                    <a:pt x="3014" y="203"/>
                  </a:lnTo>
                  <a:lnTo>
                    <a:pt x="2997" y="200"/>
                  </a:lnTo>
                  <a:close/>
                  <a:moveTo>
                    <a:pt x="1389" y="195"/>
                  </a:moveTo>
                  <a:lnTo>
                    <a:pt x="1372" y="199"/>
                  </a:lnTo>
                  <a:lnTo>
                    <a:pt x="1356" y="207"/>
                  </a:lnTo>
                  <a:lnTo>
                    <a:pt x="1344" y="220"/>
                  </a:lnTo>
                  <a:lnTo>
                    <a:pt x="1336" y="236"/>
                  </a:lnTo>
                  <a:lnTo>
                    <a:pt x="1334" y="254"/>
                  </a:lnTo>
                  <a:lnTo>
                    <a:pt x="1334" y="652"/>
                  </a:lnTo>
                  <a:lnTo>
                    <a:pt x="1445" y="651"/>
                  </a:lnTo>
                  <a:lnTo>
                    <a:pt x="1445" y="254"/>
                  </a:lnTo>
                  <a:lnTo>
                    <a:pt x="1442" y="236"/>
                  </a:lnTo>
                  <a:lnTo>
                    <a:pt x="1435" y="220"/>
                  </a:lnTo>
                  <a:lnTo>
                    <a:pt x="1422" y="207"/>
                  </a:lnTo>
                  <a:lnTo>
                    <a:pt x="1407" y="199"/>
                  </a:lnTo>
                  <a:lnTo>
                    <a:pt x="1389" y="195"/>
                  </a:lnTo>
                  <a:close/>
                  <a:moveTo>
                    <a:pt x="241" y="195"/>
                  </a:moveTo>
                  <a:lnTo>
                    <a:pt x="224" y="199"/>
                  </a:lnTo>
                  <a:lnTo>
                    <a:pt x="207" y="207"/>
                  </a:lnTo>
                  <a:lnTo>
                    <a:pt x="196" y="220"/>
                  </a:lnTo>
                  <a:lnTo>
                    <a:pt x="188" y="236"/>
                  </a:lnTo>
                  <a:lnTo>
                    <a:pt x="185" y="254"/>
                  </a:lnTo>
                  <a:lnTo>
                    <a:pt x="185" y="652"/>
                  </a:lnTo>
                  <a:lnTo>
                    <a:pt x="297" y="651"/>
                  </a:lnTo>
                  <a:lnTo>
                    <a:pt x="297" y="254"/>
                  </a:lnTo>
                  <a:lnTo>
                    <a:pt x="294" y="236"/>
                  </a:lnTo>
                  <a:lnTo>
                    <a:pt x="286" y="220"/>
                  </a:lnTo>
                  <a:lnTo>
                    <a:pt x="273" y="207"/>
                  </a:lnTo>
                  <a:lnTo>
                    <a:pt x="258" y="199"/>
                  </a:lnTo>
                  <a:lnTo>
                    <a:pt x="241" y="195"/>
                  </a:lnTo>
                  <a:close/>
                  <a:moveTo>
                    <a:pt x="2192" y="29"/>
                  </a:moveTo>
                  <a:lnTo>
                    <a:pt x="2378" y="29"/>
                  </a:lnTo>
                  <a:lnTo>
                    <a:pt x="2378" y="648"/>
                  </a:lnTo>
                  <a:lnTo>
                    <a:pt x="2477" y="648"/>
                  </a:lnTo>
                  <a:lnTo>
                    <a:pt x="2477" y="29"/>
                  </a:lnTo>
                  <a:lnTo>
                    <a:pt x="2665" y="29"/>
                  </a:lnTo>
                  <a:lnTo>
                    <a:pt x="2665" y="1458"/>
                  </a:lnTo>
                  <a:lnTo>
                    <a:pt x="2477" y="1458"/>
                  </a:lnTo>
                  <a:lnTo>
                    <a:pt x="2477" y="842"/>
                  </a:lnTo>
                  <a:lnTo>
                    <a:pt x="2379" y="842"/>
                  </a:lnTo>
                  <a:lnTo>
                    <a:pt x="2379" y="1458"/>
                  </a:lnTo>
                  <a:lnTo>
                    <a:pt x="2192" y="1458"/>
                  </a:lnTo>
                  <a:lnTo>
                    <a:pt x="2192" y="29"/>
                  </a:lnTo>
                  <a:close/>
                  <a:moveTo>
                    <a:pt x="1677" y="29"/>
                  </a:moveTo>
                  <a:lnTo>
                    <a:pt x="2128" y="29"/>
                  </a:lnTo>
                  <a:lnTo>
                    <a:pt x="2128" y="216"/>
                  </a:lnTo>
                  <a:lnTo>
                    <a:pt x="1998" y="216"/>
                  </a:lnTo>
                  <a:lnTo>
                    <a:pt x="1998" y="1458"/>
                  </a:lnTo>
                  <a:lnTo>
                    <a:pt x="1810" y="1458"/>
                  </a:lnTo>
                  <a:lnTo>
                    <a:pt x="1810" y="215"/>
                  </a:lnTo>
                  <a:lnTo>
                    <a:pt x="1677" y="215"/>
                  </a:lnTo>
                  <a:lnTo>
                    <a:pt x="1677" y="29"/>
                  </a:lnTo>
                  <a:close/>
                  <a:moveTo>
                    <a:pt x="817" y="5"/>
                  </a:moveTo>
                  <a:lnTo>
                    <a:pt x="856" y="9"/>
                  </a:lnTo>
                  <a:lnTo>
                    <a:pt x="893" y="18"/>
                  </a:lnTo>
                  <a:lnTo>
                    <a:pt x="928" y="33"/>
                  </a:lnTo>
                  <a:lnTo>
                    <a:pt x="959" y="54"/>
                  </a:lnTo>
                  <a:lnTo>
                    <a:pt x="987" y="80"/>
                  </a:lnTo>
                  <a:lnTo>
                    <a:pt x="1012" y="109"/>
                  </a:lnTo>
                  <a:lnTo>
                    <a:pt x="1031" y="144"/>
                  </a:lnTo>
                  <a:lnTo>
                    <a:pt x="1046" y="180"/>
                  </a:lnTo>
                  <a:lnTo>
                    <a:pt x="1056" y="220"/>
                  </a:lnTo>
                  <a:lnTo>
                    <a:pt x="1059" y="261"/>
                  </a:lnTo>
                  <a:lnTo>
                    <a:pt x="1059" y="510"/>
                  </a:lnTo>
                  <a:lnTo>
                    <a:pt x="871" y="510"/>
                  </a:lnTo>
                  <a:lnTo>
                    <a:pt x="871" y="260"/>
                  </a:lnTo>
                  <a:lnTo>
                    <a:pt x="869" y="242"/>
                  </a:lnTo>
                  <a:lnTo>
                    <a:pt x="861" y="225"/>
                  </a:lnTo>
                  <a:lnTo>
                    <a:pt x="848" y="211"/>
                  </a:lnTo>
                  <a:lnTo>
                    <a:pt x="833" y="203"/>
                  </a:lnTo>
                  <a:lnTo>
                    <a:pt x="816" y="201"/>
                  </a:lnTo>
                  <a:lnTo>
                    <a:pt x="798" y="203"/>
                  </a:lnTo>
                  <a:lnTo>
                    <a:pt x="783" y="211"/>
                  </a:lnTo>
                  <a:lnTo>
                    <a:pt x="771" y="225"/>
                  </a:lnTo>
                  <a:lnTo>
                    <a:pt x="762" y="242"/>
                  </a:lnTo>
                  <a:lnTo>
                    <a:pt x="760" y="260"/>
                  </a:lnTo>
                  <a:lnTo>
                    <a:pt x="760" y="1227"/>
                  </a:lnTo>
                  <a:lnTo>
                    <a:pt x="762" y="1245"/>
                  </a:lnTo>
                  <a:lnTo>
                    <a:pt x="771" y="1262"/>
                  </a:lnTo>
                  <a:lnTo>
                    <a:pt x="783" y="1274"/>
                  </a:lnTo>
                  <a:lnTo>
                    <a:pt x="798" y="1284"/>
                  </a:lnTo>
                  <a:lnTo>
                    <a:pt x="816" y="1286"/>
                  </a:lnTo>
                  <a:lnTo>
                    <a:pt x="833" y="1284"/>
                  </a:lnTo>
                  <a:lnTo>
                    <a:pt x="849" y="1274"/>
                  </a:lnTo>
                  <a:lnTo>
                    <a:pt x="861" y="1262"/>
                  </a:lnTo>
                  <a:lnTo>
                    <a:pt x="869" y="1245"/>
                  </a:lnTo>
                  <a:lnTo>
                    <a:pt x="871" y="1227"/>
                  </a:lnTo>
                  <a:lnTo>
                    <a:pt x="871" y="845"/>
                  </a:lnTo>
                  <a:lnTo>
                    <a:pt x="804" y="845"/>
                  </a:lnTo>
                  <a:lnTo>
                    <a:pt x="804" y="655"/>
                  </a:lnTo>
                  <a:lnTo>
                    <a:pt x="1059" y="655"/>
                  </a:lnTo>
                  <a:lnTo>
                    <a:pt x="1059" y="1225"/>
                  </a:lnTo>
                  <a:lnTo>
                    <a:pt x="1056" y="1266"/>
                  </a:lnTo>
                  <a:lnTo>
                    <a:pt x="1046" y="1306"/>
                  </a:lnTo>
                  <a:lnTo>
                    <a:pt x="1031" y="1343"/>
                  </a:lnTo>
                  <a:lnTo>
                    <a:pt x="1012" y="1376"/>
                  </a:lnTo>
                  <a:lnTo>
                    <a:pt x="988" y="1407"/>
                  </a:lnTo>
                  <a:lnTo>
                    <a:pt x="959" y="1432"/>
                  </a:lnTo>
                  <a:lnTo>
                    <a:pt x="928" y="1453"/>
                  </a:lnTo>
                  <a:lnTo>
                    <a:pt x="893" y="1469"/>
                  </a:lnTo>
                  <a:lnTo>
                    <a:pt x="856" y="1478"/>
                  </a:lnTo>
                  <a:lnTo>
                    <a:pt x="817" y="1482"/>
                  </a:lnTo>
                  <a:lnTo>
                    <a:pt x="778" y="1478"/>
                  </a:lnTo>
                  <a:lnTo>
                    <a:pt x="740" y="1469"/>
                  </a:lnTo>
                  <a:lnTo>
                    <a:pt x="706" y="1453"/>
                  </a:lnTo>
                  <a:lnTo>
                    <a:pt x="674" y="1432"/>
                  </a:lnTo>
                  <a:lnTo>
                    <a:pt x="645" y="1407"/>
                  </a:lnTo>
                  <a:lnTo>
                    <a:pt x="621" y="1376"/>
                  </a:lnTo>
                  <a:lnTo>
                    <a:pt x="601" y="1343"/>
                  </a:lnTo>
                  <a:lnTo>
                    <a:pt x="588" y="1306"/>
                  </a:lnTo>
                  <a:lnTo>
                    <a:pt x="578" y="1266"/>
                  </a:lnTo>
                  <a:lnTo>
                    <a:pt x="575" y="1225"/>
                  </a:lnTo>
                  <a:lnTo>
                    <a:pt x="575" y="261"/>
                  </a:lnTo>
                  <a:lnTo>
                    <a:pt x="578" y="220"/>
                  </a:lnTo>
                  <a:lnTo>
                    <a:pt x="588" y="180"/>
                  </a:lnTo>
                  <a:lnTo>
                    <a:pt x="601" y="144"/>
                  </a:lnTo>
                  <a:lnTo>
                    <a:pt x="621" y="109"/>
                  </a:lnTo>
                  <a:lnTo>
                    <a:pt x="645" y="80"/>
                  </a:lnTo>
                  <a:lnTo>
                    <a:pt x="673" y="54"/>
                  </a:lnTo>
                  <a:lnTo>
                    <a:pt x="706" y="33"/>
                  </a:lnTo>
                  <a:lnTo>
                    <a:pt x="740" y="18"/>
                  </a:lnTo>
                  <a:lnTo>
                    <a:pt x="778" y="9"/>
                  </a:lnTo>
                  <a:lnTo>
                    <a:pt x="817" y="5"/>
                  </a:lnTo>
                  <a:close/>
                  <a:moveTo>
                    <a:pt x="2998" y="4"/>
                  </a:moveTo>
                  <a:lnTo>
                    <a:pt x="3036" y="7"/>
                  </a:lnTo>
                  <a:lnTo>
                    <a:pt x="3074" y="17"/>
                  </a:lnTo>
                  <a:lnTo>
                    <a:pt x="3109" y="33"/>
                  </a:lnTo>
                  <a:lnTo>
                    <a:pt x="3140" y="54"/>
                  </a:lnTo>
                  <a:lnTo>
                    <a:pt x="3168" y="79"/>
                  </a:lnTo>
                  <a:lnTo>
                    <a:pt x="3192" y="109"/>
                  </a:lnTo>
                  <a:lnTo>
                    <a:pt x="3212" y="143"/>
                  </a:lnTo>
                  <a:lnTo>
                    <a:pt x="3227" y="180"/>
                  </a:lnTo>
                  <a:lnTo>
                    <a:pt x="3236" y="220"/>
                  </a:lnTo>
                  <a:lnTo>
                    <a:pt x="3239" y="261"/>
                  </a:lnTo>
                  <a:lnTo>
                    <a:pt x="3240" y="1225"/>
                  </a:lnTo>
                  <a:lnTo>
                    <a:pt x="3236" y="1266"/>
                  </a:lnTo>
                  <a:lnTo>
                    <a:pt x="3227" y="1306"/>
                  </a:lnTo>
                  <a:lnTo>
                    <a:pt x="3212" y="1343"/>
                  </a:lnTo>
                  <a:lnTo>
                    <a:pt x="3192" y="1376"/>
                  </a:lnTo>
                  <a:lnTo>
                    <a:pt x="3168" y="1407"/>
                  </a:lnTo>
                  <a:lnTo>
                    <a:pt x="3140" y="1432"/>
                  </a:lnTo>
                  <a:lnTo>
                    <a:pt x="3109" y="1453"/>
                  </a:lnTo>
                  <a:lnTo>
                    <a:pt x="3074" y="1468"/>
                  </a:lnTo>
                  <a:lnTo>
                    <a:pt x="3037" y="1478"/>
                  </a:lnTo>
                  <a:lnTo>
                    <a:pt x="2998" y="1482"/>
                  </a:lnTo>
                  <a:lnTo>
                    <a:pt x="2958" y="1478"/>
                  </a:lnTo>
                  <a:lnTo>
                    <a:pt x="2921" y="1468"/>
                  </a:lnTo>
                  <a:lnTo>
                    <a:pt x="2887" y="1453"/>
                  </a:lnTo>
                  <a:lnTo>
                    <a:pt x="2854" y="1432"/>
                  </a:lnTo>
                  <a:lnTo>
                    <a:pt x="2826" y="1407"/>
                  </a:lnTo>
                  <a:lnTo>
                    <a:pt x="2802" y="1376"/>
                  </a:lnTo>
                  <a:lnTo>
                    <a:pt x="2782" y="1343"/>
                  </a:lnTo>
                  <a:lnTo>
                    <a:pt x="2767" y="1306"/>
                  </a:lnTo>
                  <a:lnTo>
                    <a:pt x="2759" y="1266"/>
                  </a:lnTo>
                  <a:lnTo>
                    <a:pt x="2756" y="1225"/>
                  </a:lnTo>
                  <a:lnTo>
                    <a:pt x="2756" y="261"/>
                  </a:lnTo>
                  <a:lnTo>
                    <a:pt x="2758" y="220"/>
                  </a:lnTo>
                  <a:lnTo>
                    <a:pt x="2767" y="180"/>
                  </a:lnTo>
                  <a:lnTo>
                    <a:pt x="2782" y="143"/>
                  </a:lnTo>
                  <a:lnTo>
                    <a:pt x="2802" y="109"/>
                  </a:lnTo>
                  <a:lnTo>
                    <a:pt x="2826" y="79"/>
                  </a:lnTo>
                  <a:lnTo>
                    <a:pt x="2854" y="54"/>
                  </a:lnTo>
                  <a:lnTo>
                    <a:pt x="2887" y="33"/>
                  </a:lnTo>
                  <a:lnTo>
                    <a:pt x="2921" y="17"/>
                  </a:lnTo>
                  <a:lnTo>
                    <a:pt x="2958" y="7"/>
                  </a:lnTo>
                  <a:lnTo>
                    <a:pt x="2998" y="4"/>
                  </a:lnTo>
                  <a:close/>
                  <a:moveTo>
                    <a:pt x="1392" y="2"/>
                  </a:moveTo>
                  <a:lnTo>
                    <a:pt x="1430" y="5"/>
                  </a:lnTo>
                  <a:lnTo>
                    <a:pt x="1468" y="14"/>
                  </a:lnTo>
                  <a:lnTo>
                    <a:pt x="1502" y="31"/>
                  </a:lnTo>
                  <a:lnTo>
                    <a:pt x="1534" y="51"/>
                  </a:lnTo>
                  <a:lnTo>
                    <a:pt x="1562" y="77"/>
                  </a:lnTo>
                  <a:lnTo>
                    <a:pt x="1586" y="107"/>
                  </a:lnTo>
                  <a:lnTo>
                    <a:pt x="1606" y="141"/>
                  </a:lnTo>
                  <a:lnTo>
                    <a:pt x="1621" y="178"/>
                  </a:lnTo>
                  <a:lnTo>
                    <a:pt x="1630" y="217"/>
                  </a:lnTo>
                  <a:lnTo>
                    <a:pt x="1633" y="259"/>
                  </a:lnTo>
                  <a:lnTo>
                    <a:pt x="1633" y="1458"/>
                  </a:lnTo>
                  <a:lnTo>
                    <a:pt x="1445" y="1458"/>
                  </a:lnTo>
                  <a:lnTo>
                    <a:pt x="1445" y="845"/>
                  </a:lnTo>
                  <a:lnTo>
                    <a:pt x="1334" y="845"/>
                  </a:lnTo>
                  <a:lnTo>
                    <a:pt x="1334" y="1458"/>
                  </a:lnTo>
                  <a:lnTo>
                    <a:pt x="1148" y="1458"/>
                  </a:lnTo>
                  <a:lnTo>
                    <a:pt x="1150" y="259"/>
                  </a:lnTo>
                  <a:lnTo>
                    <a:pt x="1152" y="217"/>
                  </a:lnTo>
                  <a:lnTo>
                    <a:pt x="1161" y="178"/>
                  </a:lnTo>
                  <a:lnTo>
                    <a:pt x="1176" y="141"/>
                  </a:lnTo>
                  <a:lnTo>
                    <a:pt x="1196" y="107"/>
                  </a:lnTo>
                  <a:lnTo>
                    <a:pt x="1220" y="77"/>
                  </a:lnTo>
                  <a:lnTo>
                    <a:pt x="1248" y="51"/>
                  </a:lnTo>
                  <a:lnTo>
                    <a:pt x="1280" y="31"/>
                  </a:lnTo>
                  <a:lnTo>
                    <a:pt x="1314" y="14"/>
                  </a:lnTo>
                  <a:lnTo>
                    <a:pt x="1352" y="5"/>
                  </a:lnTo>
                  <a:lnTo>
                    <a:pt x="1392" y="2"/>
                  </a:lnTo>
                  <a:close/>
                  <a:moveTo>
                    <a:pt x="243" y="2"/>
                  </a:moveTo>
                  <a:lnTo>
                    <a:pt x="282" y="5"/>
                  </a:lnTo>
                  <a:lnTo>
                    <a:pt x="320" y="14"/>
                  </a:lnTo>
                  <a:lnTo>
                    <a:pt x="355" y="31"/>
                  </a:lnTo>
                  <a:lnTo>
                    <a:pt x="386" y="51"/>
                  </a:lnTo>
                  <a:lnTo>
                    <a:pt x="414" y="77"/>
                  </a:lnTo>
                  <a:lnTo>
                    <a:pt x="438" y="107"/>
                  </a:lnTo>
                  <a:lnTo>
                    <a:pt x="458" y="141"/>
                  </a:lnTo>
                  <a:lnTo>
                    <a:pt x="473" y="178"/>
                  </a:lnTo>
                  <a:lnTo>
                    <a:pt x="482" y="217"/>
                  </a:lnTo>
                  <a:lnTo>
                    <a:pt x="484" y="259"/>
                  </a:lnTo>
                  <a:lnTo>
                    <a:pt x="484" y="1458"/>
                  </a:lnTo>
                  <a:lnTo>
                    <a:pt x="297" y="1458"/>
                  </a:lnTo>
                  <a:lnTo>
                    <a:pt x="297" y="845"/>
                  </a:lnTo>
                  <a:lnTo>
                    <a:pt x="185" y="845"/>
                  </a:lnTo>
                  <a:lnTo>
                    <a:pt x="185" y="1458"/>
                  </a:lnTo>
                  <a:lnTo>
                    <a:pt x="0" y="1458"/>
                  </a:lnTo>
                  <a:lnTo>
                    <a:pt x="1" y="259"/>
                  </a:lnTo>
                  <a:lnTo>
                    <a:pt x="3" y="217"/>
                  </a:lnTo>
                  <a:lnTo>
                    <a:pt x="13" y="178"/>
                  </a:lnTo>
                  <a:lnTo>
                    <a:pt x="28" y="141"/>
                  </a:lnTo>
                  <a:lnTo>
                    <a:pt x="48" y="107"/>
                  </a:lnTo>
                  <a:lnTo>
                    <a:pt x="72" y="77"/>
                  </a:lnTo>
                  <a:lnTo>
                    <a:pt x="100" y="51"/>
                  </a:lnTo>
                  <a:lnTo>
                    <a:pt x="132" y="31"/>
                  </a:lnTo>
                  <a:lnTo>
                    <a:pt x="167" y="14"/>
                  </a:lnTo>
                  <a:lnTo>
                    <a:pt x="204" y="5"/>
                  </a:lnTo>
                  <a:lnTo>
                    <a:pt x="243" y="2"/>
                  </a:lnTo>
                  <a:close/>
                  <a:moveTo>
                    <a:pt x="3573" y="0"/>
                  </a:moveTo>
                  <a:lnTo>
                    <a:pt x="3573" y="0"/>
                  </a:lnTo>
                  <a:lnTo>
                    <a:pt x="3612" y="4"/>
                  </a:lnTo>
                  <a:lnTo>
                    <a:pt x="3649" y="13"/>
                  </a:lnTo>
                  <a:lnTo>
                    <a:pt x="3684" y="28"/>
                  </a:lnTo>
                  <a:lnTo>
                    <a:pt x="3716" y="49"/>
                  </a:lnTo>
                  <a:lnTo>
                    <a:pt x="3744" y="76"/>
                  </a:lnTo>
                  <a:lnTo>
                    <a:pt x="3768" y="105"/>
                  </a:lnTo>
                  <a:lnTo>
                    <a:pt x="3788" y="140"/>
                  </a:lnTo>
                  <a:lnTo>
                    <a:pt x="3802" y="175"/>
                  </a:lnTo>
                  <a:lnTo>
                    <a:pt x="3811" y="215"/>
                  </a:lnTo>
                  <a:lnTo>
                    <a:pt x="3815" y="257"/>
                  </a:lnTo>
                  <a:lnTo>
                    <a:pt x="3815" y="1458"/>
                  </a:lnTo>
                  <a:lnTo>
                    <a:pt x="3629" y="1458"/>
                  </a:lnTo>
                  <a:lnTo>
                    <a:pt x="3628" y="255"/>
                  </a:lnTo>
                  <a:lnTo>
                    <a:pt x="3625" y="237"/>
                  </a:lnTo>
                  <a:lnTo>
                    <a:pt x="3617" y="221"/>
                  </a:lnTo>
                  <a:lnTo>
                    <a:pt x="3605" y="207"/>
                  </a:lnTo>
                  <a:lnTo>
                    <a:pt x="3590" y="199"/>
                  </a:lnTo>
                  <a:lnTo>
                    <a:pt x="3571" y="196"/>
                  </a:lnTo>
                  <a:lnTo>
                    <a:pt x="3554" y="199"/>
                  </a:lnTo>
                  <a:lnTo>
                    <a:pt x="3539" y="207"/>
                  </a:lnTo>
                  <a:lnTo>
                    <a:pt x="3527" y="221"/>
                  </a:lnTo>
                  <a:lnTo>
                    <a:pt x="3519" y="237"/>
                  </a:lnTo>
                  <a:lnTo>
                    <a:pt x="3516" y="255"/>
                  </a:lnTo>
                  <a:lnTo>
                    <a:pt x="3516" y="1458"/>
                  </a:lnTo>
                  <a:lnTo>
                    <a:pt x="3330" y="1458"/>
                  </a:lnTo>
                  <a:lnTo>
                    <a:pt x="3330" y="257"/>
                  </a:lnTo>
                  <a:lnTo>
                    <a:pt x="3334" y="215"/>
                  </a:lnTo>
                  <a:lnTo>
                    <a:pt x="3343" y="175"/>
                  </a:lnTo>
                  <a:lnTo>
                    <a:pt x="3358" y="140"/>
                  </a:lnTo>
                  <a:lnTo>
                    <a:pt x="3378" y="105"/>
                  </a:lnTo>
                  <a:lnTo>
                    <a:pt x="3402" y="76"/>
                  </a:lnTo>
                  <a:lnTo>
                    <a:pt x="3430" y="49"/>
                  </a:lnTo>
                  <a:lnTo>
                    <a:pt x="3461" y="28"/>
                  </a:lnTo>
                  <a:lnTo>
                    <a:pt x="3496" y="13"/>
                  </a:lnTo>
                  <a:lnTo>
                    <a:pt x="3533" y="4"/>
                  </a:lnTo>
                  <a:lnTo>
                    <a:pt x="35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49" name="Rectangle 24"/>
            <p:cNvSpPr>
              <a:spLocks noChangeArrowheads="1"/>
            </p:cNvSpPr>
            <p:nvPr userDrawn="1"/>
          </p:nvSpPr>
          <p:spPr bwMode="auto">
            <a:xfrm>
              <a:off x="5810250" y="3795713"/>
              <a:ext cx="3027363" cy="16986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0" name="Freeform 25"/>
            <p:cNvSpPr>
              <a:spLocks/>
            </p:cNvSpPr>
            <p:nvPr userDrawn="1"/>
          </p:nvSpPr>
          <p:spPr bwMode="auto">
            <a:xfrm>
              <a:off x="5810250" y="4092576"/>
              <a:ext cx="100013" cy="134938"/>
            </a:xfrm>
            <a:custGeom>
              <a:avLst/>
              <a:gdLst>
                <a:gd name="T0" fmla="*/ 78 w 125"/>
                <a:gd name="T1" fmla="*/ 1 h 170"/>
                <a:gd name="T2" fmla="*/ 103 w 125"/>
                <a:gd name="T3" fmla="*/ 14 h 170"/>
                <a:gd name="T4" fmla="*/ 118 w 125"/>
                <a:gd name="T5" fmla="*/ 37 h 170"/>
                <a:gd name="T6" fmla="*/ 94 w 125"/>
                <a:gd name="T7" fmla="*/ 52 h 170"/>
                <a:gd name="T8" fmla="*/ 87 w 125"/>
                <a:gd name="T9" fmla="*/ 32 h 170"/>
                <a:gd name="T10" fmla="*/ 71 w 125"/>
                <a:gd name="T11" fmla="*/ 24 h 170"/>
                <a:gd name="T12" fmla="*/ 53 w 125"/>
                <a:gd name="T13" fmla="*/ 24 h 170"/>
                <a:gd name="T14" fmla="*/ 39 w 125"/>
                <a:gd name="T15" fmla="*/ 30 h 170"/>
                <a:gd name="T16" fmla="*/ 32 w 125"/>
                <a:gd name="T17" fmla="*/ 45 h 170"/>
                <a:gd name="T18" fmla="*/ 42 w 125"/>
                <a:gd name="T19" fmla="*/ 61 h 170"/>
                <a:gd name="T20" fmla="*/ 54 w 125"/>
                <a:gd name="T21" fmla="*/ 67 h 170"/>
                <a:gd name="T22" fmla="*/ 71 w 125"/>
                <a:gd name="T23" fmla="*/ 70 h 170"/>
                <a:gd name="T24" fmla="*/ 89 w 125"/>
                <a:gd name="T25" fmla="*/ 76 h 170"/>
                <a:gd name="T26" fmla="*/ 108 w 125"/>
                <a:gd name="T27" fmla="*/ 84 h 170"/>
                <a:gd name="T28" fmla="*/ 123 w 125"/>
                <a:gd name="T29" fmla="*/ 106 h 170"/>
                <a:gd name="T30" fmla="*/ 123 w 125"/>
                <a:gd name="T31" fmla="*/ 135 h 170"/>
                <a:gd name="T32" fmla="*/ 105 w 125"/>
                <a:gd name="T33" fmla="*/ 158 h 170"/>
                <a:gd name="T34" fmla="*/ 79 w 125"/>
                <a:gd name="T35" fmla="*/ 169 h 170"/>
                <a:gd name="T36" fmla="*/ 48 w 125"/>
                <a:gd name="T37" fmla="*/ 169 h 170"/>
                <a:gd name="T38" fmla="*/ 19 w 125"/>
                <a:gd name="T39" fmla="*/ 156 h 170"/>
                <a:gd name="T40" fmla="*/ 2 w 125"/>
                <a:gd name="T41" fmla="*/ 131 h 170"/>
                <a:gd name="T42" fmla="*/ 0 w 125"/>
                <a:gd name="T43" fmla="*/ 112 h 170"/>
                <a:gd name="T44" fmla="*/ 29 w 125"/>
                <a:gd name="T45" fmla="*/ 126 h 170"/>
                <a:gd name="T46" fmla="*/ 43 w 125"/>
                <a:gd name="T47" fmla="*/ 142 h 170"/>
                <a:gd name="T48" fmla="*/ 66 w 125"/>
                <a:gd name="T49" fmla="*/ 147 h 170"/>
                <a:gd name="T50" fmla="*/ 87 w 125"/>
                <a:gd name="T51" fmla="*/ 142 h 170"/>
                <a:gd name="T52" fmla="*/ 97 w 125"/>
                <a:gd name="T53" fmla="*/ 129 h 170"/>
                <a:gd name="T54" fmla="*/ 97 w 125"/>
                <a:gd name="T55" fmla="*/ 114 h 170"/>
                <a:gd name="T56" fmla="*/ 90 w 125"/>
                <a:gd name="T57" fmla="*/ 105 h 170"/>
                <a:gd name="T58" fmla="*/ 73 w 125"/>
                <a:gd name="T59" fmla="*/ 98 h 170"/>
                <a:gd name="T60" fmla="*/ 39 w 125"/>
                <a:gd name="T61" fmla="*/ 89 h 170"/>
                <a:gd name="T62" fmla="*/ 16 w 125"/>
                <a:gd name="T63" fmla="*/ 76 h 170"/>
                <a:gd name="T64" fmla="*/ 7 w 125"/>
                <a:gd name="T65" fmla="*/ 58 h 170"/>
                <a:gd name="T66" fmla="*/ 8 w 125"/>
                <a:gd name="T67" fmla="*/ 33 h 170"/>
                <a:gd name="T68" fmla="*/ 23 w 125"/>
                <a:gd name="T69" fmla="*/ 11 h 170"/>
                <a:gd name="T70" fmla="*/ 48 w 125"/>
                <a:gd name="T71" fmla="*/ 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70">
                  <a:moveTo>
                    <a:pt x="61" y="0"/>
                  </a:moveTo>
                  <a:lnTo>
                    <a:pt x="78" y="1"/>
                  </a:lnTo>
                  <a:lnTo>
                    <a:pt x="92" y="5"/>
                  </a:lnTo>
                  <a:lnTo>
                    <a:pt x="103" y="14"/>
                  </a:lnTo>
                  <a:lnTo>
                    <a:pt x="112" y="23"/>
                  </a:lnTo>
                  <a:lnTo>
                    <a:pt x="118" y="37"/>
                  </a:lnTo>
                  <a:lnTo>
                    <a:pt x="121" y="52"/>
                  </a:lnTo>
                  <a:lnTo>
                    <a:pt x="94" y="52"/>
                  </a:lnTo>
                  <a:lnTo>
                    <a:pt x="92" y="41"/>
                  </a:lnTo>
                  <a:lnTo>
                    <a:pt x="87" y="32"/>
                  </a:lnTo>
                  <a:lnTo>
                    <a:pt x="80" y="27"/>
                  </a:lnTo>
                  <a:lnTo>
                    <a:pt x="71" y="24"/>
                  </a:lnTo>
                  <a:lnTo>
                    <a:pt x="60" y="23"/>
                  </a:lnTo>
                  <a:lnTo>
                    <a:pt x="53" y="24"/>
                  </a:lnTo>
                  <a:lnTo>
                    <a:pt x="45" y="26"/>
                  </a:lnTo>
                  <a:lnTo>
                    <a:pt x="39" y="30"/>
                  </a:lnTo>
                  <a:lnTo>
                    <a:pt x="35" y="36"/>
                  </a:lnTo>
                  <a:lnTo>
                    <a:pt x="32" y="45"/>
                  </a:lnTo>
                  <a:lnTo>
                    <a:pt x="35" y="54"/>
                  </a:lnTo>
                  <a:lnTo>
                    <a:pt x="42" y="61"/>
                  </a:lnTo>
                  <a:lnTo>
                    <a:pt x="51" y="66"/>
                  </a:lnTo>
                  <a:lnTo>
                    <a:pt x="54" y="67"/>
                  </a:lnTo>
                  <a:lnTo>
                    <a:pt x="61" y="68"/>
                  </a:lnTo>
                  <a:lnTo>
                    <a:pt x="71" y="70"/>
                  </a:lnTo>
                  <a:lnTo>
                    <a:pt x="81" y="74"/>
                  </a:lnTo>
                  <a:lnTo>
                    <a:pt x="89" y="76"/>
                  </a:lnTo>
                  <a:lnTo>
                    <a:pt x="95" y="77"/>
                  </a:lnTo>
                  <a:lnTo>
                    <a:pt x="108" y="84"/>
                  </a:lnTo>
                  <a:lnTo>
                    <a:pt x="118" y="95"/>
                  </a:lnTo>
                  <a:lnTo>
                    <a:pt x="123" y="106"/>
                  </a:lnTo>
                  <a:lnTo>
                    <a:pt x="125" y="119"/>
                  </a:lnTo>
                  <a:lnTo>
                    <a:pt x="123" y="135"/>
                  </a:lnTo>
                  <a:lnTo>
                    <a:pt x="116" y="149"/>
                  </a:lnTo>
                  <a:lnTo>
                    <a:pt x="105" y="158"/>
                  </a:lnTo>
                  <a:lnTo>
                    <a:pt x="94" y="165"/>
                  </a:lnTo>
                  <a:lnTo>
                    <a:pt x="79" y="169"/>
                  </a:lnTo>
                  <a:lnTo>
                    <a:pt x="64" y="170"/>
                  </a:lnTo>
                  <a:lnTo>
                    <a:pt x="48" y="169"/>
                  </a:lnTo>
                  <a:lnTo>
                    <a:pt x="32" y="164"/>
                  </a:lnTo>
                  <a:lnTo>
                    <a:pt x="19" y="156"/>
                  </a:lnTo>
                  <a:lnTo>
                    <a:pt x="9" y="146"/>
                  </a:lnTo>
                  <a:lnTo>
                    <a:pt x="2" y="131"/>
                  </a:lnTo>
                  <a:lnTo>
                    <a:pt x="0" y="112"/>
                  </a:lnTo>
                  <a:lnTo>
                    <a:pt x="0" y="112"/>
                  </a:lnTo>
                  <a:lnTo>
                    <a:pt x="27" y="112"/>
                  </a:lnTo>
                  <a:lnTo>
                    <a:pt x="29" y="126"/>
                  </a:lnTo>
                  <a:lnTo>
                    <a:pt x="35" y="135"/>
                  </a:lnTo>
                  <a:lnTo>
                    <a:pt x="43" y="142"/>
                  </a:lnTo>
                  <a:lnTo>
                    <a:pt x="53" y="146"/>
                  </a:lnTo>
                  <a:lnTo>
                    <a:pt x="66" y="147"/>
                  </a:lnTo>
                  <a:lnTo>
                    <a:pt x="78" y="146"/>
                  </a:lnTo>
                  <a:lnTo>
                    <a:pt x="87" y="142"/>
                  </a:lnTo>
                  <a:lnTo>
                    <a:pt x="94" y="136"/>
                  </a:lnTo>
                  <a:lnTo>
                    <a:pt x="97" y="129"/>
                  </a:lnTo>
                  <a:lnTo>
                    <a:pt x="98" y="122"/>
                  </a:lnTo>
                  <a:lnTo>
                    <a:pt x="97" y="114"/>
                  </a:lnTo>
                  <a:lnTo>
                    <a:pt x="94" y="109"/>
                  </a:lnTo>
                  <a:lnTo>
                    <a:pt x="90" y="105"/>
                  </a:lnTo>
                  <a:lnTo>
                    <a:pt x="86" y="103"/>
                  </a:lnTo>
                  <a:lnTo>
                    <a:pt x="73" y="98"/>
                  </a:lnTo>
                  <a:lnTo>
                    <a:pt x="59" y="95"/>
                  </a:lnTo>
                  <a:lnTo>
                    <a:pt x="39" y="89"/>
                  </a:lnTo>
                  <a:lnTo>
                    <a:pt x="27" y="83"/>
                  </a:lnTo>
                  <a:lnTo>
                    <a:pt x="16" y="76"/>
                  </a:lnTo>
                  <a:lnTo>
                    <a:pt x="10" y="67"/>
                  </a:lnTo>
                  <a:lnTo>
                    <a:pt x="7" y="58"/>
                  </a:lnTo>
                  <a:lnTo>
                    <a:pt x="6" y="47"/>
                  </a:lnTo>
                  <a:lnTo>
                    <a:pt x="8" y="33"/>
                  </a:lnTo>
                  <a:lnTo>
                    <a:pt x="14" y="20"/>
                  </a:lnTo>
                  <a:lnTo>
                    <a:pt x="23" y="11"/>
                  </a:lnTo>
                  <a:lnTo>
                    <a:pt x="35" y="5"/>
                  </a:lnTo>
                  <a:lnTo>
                    <a:pt x="48" y="1"/>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1" name="Freeform 26"/>
            <p:cNvSpPr>
              <a:spLocks/>
            </p:cNvSpPr>
            <p:nvPr userDrawn="1"/>
          </p:nvSpPr>
          <p:spPr bwMode="auto">
            <a:xfrm>
              <a:off x="6097588" y="4095751"/>
              <a:ext cx="160338" cy="128588"/>
            </a:xfrm>
            <a:custGeom>
              <a:avLst/>
              <a:gdLst>
                <a:gd name="T0" fmla="*/ 0 w 200"/>
                <a:gd name="T1" fmla="*/ 0 h 164"/>
                <a:gd name="T2" fmla="*/ 28 w 200"/>
                <a:gd name="T3" fmla="*/ 0 h 164"/>
                <a:gd name="T4" fmla="*/ 54 w 200"/>
                <a:gd name="T5" fmla="*/ 125 h 164"/>
                <a:gd name="T6" fmla="*/ 55 w 200"/>
                <a:gd name="T7" fmla="*/ 125 h 164"/>
                <a:gd name="T8" fmla="*/ 85 w 200"/>
                <a:gd name="T9" fmla="*/ 0 h 164"/>
                <a:gd name="T10" fmla="*/ 113 w 200"/>
                <a:gd name="T11" fmla="*/ 0 h 164"/>
                <a:gd name="T12" fmla="*/ 143 w 200"/>
                <a:gd name="T13" fmla="*/ 125 h 164"/>
                <a:gd name="T14" fmla="*/ 145 w 200"/>
                <a:gd name="T15" fmla="*/ 125 h 164"/>
                <a:gd name="T16" fmla="*/ 172 w 200"/>
                <a:gd name="T17" fmla="*/ 0 h 164"/>
                <a:gd name="T18" fmla="*/ 200 w 200"/>
                <a:gd name="T19" fmla="*/ 0 h 164"/>
                <a:gd name="T20" fmla="*/ 157 w 200"/>
                <a:gd name="T21" fmla="*/ 164 h 164"/>
                <a:gd name="T22" fmla="*/ 131 w 200"/>
                <a:gd name="T23" fmla="*/ 164 h 164"/>
                <a:gd name="T24" fmla="*/ 99 w 200"/>
                <a:gd name="T25" fmla="*/ 39 h 164"/>
                <a:gd name="T26" fmla="*/ 99 w 200"/>
                <a:gd name="T27" fmla="*/ 39 h 164"/>
                <a:gd name="T28" fmla="*/ 68 w 200"/>
                <a:gd name="T29" fmla="*/ 164 h 164"/>
                <a:gd name="T30" fmla="*/ 40 w 200"/>
                <a:gd name="T31" fmla="*/ 164 h 164"/>
                <a:gd name="T32" fmla="*/ 0 w 200"/>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64">
                  <a:moveTo>
                    <a:pt x="0" y="0"/>
                  </a:moveTo>
                  <a:lnTo>
                    <a:pt x="28" y="0"/>
                  </a:lnTo>
                  <a:lnTo>
                    <a:pt x="54" y="125"/>
                  </a:lnTo>
                  <a:lnTo>
                    <a:pt x="55" y="125"/>
                  </a:lnTo>
                  <a:lnTo>
                    <a:pt x="85" y="0"/>
                  </a:lnTo>
                  <a:lnTo>
                    <a:pt x="113" y="0"/>
                  </a:lnTo>
                  <a:lnTo>
                    <a:pt x="143" y="125"/>
                  </a:lnTo>
                  <a:lnTo>
                    <a:pt x="145" y="125"/>
                  </a:lnTo>
                  <a:lnTo>
                    <a:pt x="172" y="0"/>
                  </a:lnTo>
                  <a:lnTo>
                    <a:pt x="200" y="0"/>
                  </a:lnTo>
                  <a:lnTo>
                    <a:pt x="157" y="164"/>
                  </a:lnTo>
                  <a:lnTo>
                    <a:pt x="131" y="164"/>
                  </a:lnTo>
                  <a:lnTo>
                    <a:pt x="99" y="39"/>
                  </a:lnTo>
                  <a:lnTo>
                    <a:pt x="99" y="39"/>
                  </a:lnTo>
                  <a:lnTo>
                    <a:pt x="68" y="164"/>
                  </a:lnTo>
                  <a:lnTo>
                    <a:pt x="4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2" name="Rectangle 27"/>
            <p:cNvSpPr>
              <a:spLocks noChangeArrowheads="1"/>
            </p:cNvSpPr>
            <p:nvPr userDrawn="1"/>
          </p:nvSpPr>
          <p:spPr bwMode="auto">
            <a:xfrm>
              <a:off x="6453188" y="4095751"/>
              <a:ext cx="20638" cy="128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3" name="Freeform 28"/>
            <p:cNvSpPr>
              <a:spLocks/>
            </p:cNvSpPr>
            <p:nvPr userDrawn="1"/>
          </p:nvSpPr>
          <p:spPr bwMode="auto">
            <a:xfrm>
              <a:off x="6670675" y="4095751"/>
              <a:ext cx="98425" cy="128588"/>
            </a:xfrm>
            <a:custGeom>
              <a:avLst/>
              <a:gdLst>
                <a:gd name="T0" fmla="*/ 0 w 124"/>
                <a:gd name="T1" fmla="*/ 0 h 164"/>
                <a:gd name="T2" fmla="*/ 124 w 124"/>
                <a:gd name="T3" fmla="*/ 0 h 164"/>
                <a:gd name="T4" fmla="*/ 124 w 124"/>
                <a:gd name="T5" fmla="*/ 26 h 164"/>
                <a:gd name="T6" fmla="*/ 75 w 124"/>
                <a:gd name="T7" fmla="*/ 26 h 164"/>
                <a:gd name="T8" fmla="*/ 75 w 124"/>
                <a:gd name="T9" fmla="*/ 164 h 164"/>
                <a:gd name="T10" fmla="*/ 47 w 124"/>
                <a:gd name="T11" fmla="*/ 164 h 164"/>
                <a:gd name="T12" fmla="*/ 47 w 124"/>
                <a:gd name="T13" fmla="*/ 26 h 164"/>
                <a:gd name="T14" fmla="*/ 0 w 124"/>
                <a:gd name="T15" fmla="*/ 26 h 164"/>
                <a:gd name="T16" fmla="*/ 0 w 124"/>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64">
                  <a:moveTo>
                    <a:pt x="0" y="0"/>
                  </a:moveTo>
                  <a:lnTo>
                    <a:pt x="124" y="0"/>
                  </a:lnTo>
                  <a:lnTo>
                    <a:pt x="124" y="26"/>
                  </a:lnTo>
                  <a:lnTo>
                    <a:pt x="75" y="26"/>
                  </a:lnTo>
                  <a:lnTo>
                    <a:pt x="75" y="164"/>
                  </a:lnTo>
                  <a:lnTo>
                    <a:pt x="47" y="164"/>
                  </a:lnTo>
                  <a:lnTo>
                    <a:pt x="47" y="26"/>
                  </a:lnTo>
                  <a:lnTo>
                    <a:pt x="0" y="2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4" name="Freeform 29"/>
            <p:cNvSpPr>
              <a:spLocks/>
            </p:cNvSpPr>
            <p:nvPr userDrawn="1"/>
          </p:nvSpPr>
          <p:spPr bwMode="auto">
            <a:xfrm>
              <a:off x="6956425" y="4095751"/>
              <a:ext cx="100013" cy="128588"/>
            </a:xfrm>
            <a:custGeom>
              <a:avLst/>
              <a:gdLst>
                <a:gd name="T0" fmla="*/ 7 w 126"/>
                <a:gd name="T1" fmla="*/ 0 h 164"/>
                <a:gd name="T2" fmla="*/ 124 w 126"/>
                <a:gd name="T3" fmla="*/ 0 h 164"/>
                <a:gd name="T4" fmla="*/ 124 w 126"/>
                <a:gd name="T5" fmla="*/ 22 h 164"/>
                <a:gd name="T6" fmla="*/ 35 w 126"/>
                <a:gd name="T7" fmla="*/ 139 h 164"/>
                <a:gd name="T8" fmla="*/ 126 w 126"/>
                <a:gd name="T9" fmla="*/ 139 h 164"/>
                <a:gd name="T10" fmla="*/ 126 w 126"/>
                <a:gd name="T11" fmla="*/ 164 h 164"/>
                <a:gd name="T12" fmla="*/ 0 w 126"/>
                <a:gd name="T13" fmla="*/ 164 h 164"/>
                <a:gd name="T14" fmla="*/ 0 w 126"/>
                <a:gd name="T15" fmla="*/ 140 h 164"/>
                <a:gd name="T16" fmla="*/ 89 w 126"/>
                <a:gd name="T17" fmla="*/ 26 h 164"/>
                <a:gd name="T18" fmla="*/ 7 w 126"/>
                <a:gd name="T19" fmla="*/ 26 h 164"/>
                <a:gd name="T20" fmla="*/ 7 w 126"/>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64">
                  <a:moveTo>
                    <a:pt x="7" y="0"/>
                  </a:moveTo>
                  <a:lnTo>
                    <a:pt x="124" y="0"/>
                  </a:lnTo>
                  <a:lnTo>
                    <a:pt x="124" y="22"/>
                  </a:lnTo>
                  <a:lnTo>
                    <a:pt x="35" y="139"/>
                  </a:lnTo>
                  <a:lnTo>
                    <a:pt x="126" y="139"/>
                  </a:lnTo>
                  <a:lnTo>
                    <a:pt x="126" y="164"/>
                  </a:lnTo>
                  <a:lnTo>
                    <a:pt x="0" y="164"/>
                  </a:lnTo>
                  <a:lnTo>
                    <a:pt x="0" y="140"/>
                  </a:lnTo>
                  <a:lnTo>
                    <a:pt x="89" y="26"/>
                  </a:lnTo>
                  <a:lnTo>
                    <a:pt x="7" y="26"/>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5" name="Freeform 30"/>
            <p:cNvSpPr>
              <a:spLocks/>
            </p:cNvSpPr>
            <p:nvPr userDrawn="1"/>
          </p:nvSpPr>
          <p:spPr bwMode="auto">
            <a:xfrm>
              <a:off x="7254875" y="4095751"/>
              <a:ext cx="88900" cy="128588"/>
            </a:xfrm>
            <a:custGeom>
              <a:avLst/>
              <a:gdLst>
                <a:gd name="T0" fmla="*/ 0 w 112"/>
                <a:gd name="T1" fmla="*/ 0 h 164"/>
                <a:gd name="T2" fmla="*/ 111 w 112"/>
                <a:gd name="T3" fmla="*/ 0 h 164"/>
                <a:gd name="T4" fmla="*/ 111 w 112"/>
                <a:gd name="T5" fmla="*/ 26 h 164"/>
                <a:gd name="T6" fmla="*/ 27 w 112"/>
                <a:gd name="T7" fmla="*/ 26 h 164"/>
                <a:gd name="T8" fmla="*/ 27 w 112"/>
                <a:gd name="T9" fmla="*/ 68 h 164"/>
                <a:gd name="T10" fmla="*/ 105 w 112"/>
                <a:gd name="T11" fmla="*/ 68 h 164"/>
                <a:gd name="T12" fmla="*/ 105 w 112"/>
                <a:gd name="T13" fmla="*/ 92 h 164"/>
                <a:gd name="T14" fmla="*/ 27 w 112"/>
                <a:gd name="T15" fmla="*/ 92 h 164"/>
                <a:gd name="T16" fmla="*/ 27 w 112"/>
                <a:gd name="T17" fmla="*/ 139 h 164"/>
                <a:gd name="T18" fmla="*/ 112 w 112"/>
                <a:gd name="T19" fmla="*/ 139 h 164"/>
                <a:gd name="T20" fmla="*/ 112 w 112"/>
                <a:gd name="T21" fmla="*/ 164 h 164"/>
                <a:gd name="T22" fmla="*/ 0 w 112"/>
                <a:gd name="T23" fmla="*/ 164 h 164"/>
                <a:gd name="T24" fmla="*/ 0 w 112"/>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64">
                  <a:moveTo>
                    <a:pt x="0" y="0"/>
                  </a:moveTo>
                  <a:lnTo>
                    <a:pt x="111" y="0"/>
                  </a:lnTo>
                  <a:lnTo>
                    <a:pt x="111" y="26"/>
                  </a:lnTo>
                  <a:lnTo>
                    <a:pt x="27" y="26"/>
                  </a:lnTo>
                  <a:lnTo>
                    <a:pt x="27" y="68"/>
                  </a:lnTo>
                  <a:lnTo>
                    <a:pt x="105" y="68"/>
                  </a:lnTo>
                  <a:lnTo>
                    <a:pt x="105" y="92"/>
                  </a:lnTo>
                  <a:lnTo>
                    <a:pt x="27" y="92"/>
                  </a:lnTo>
                  <a:lnTo>
                    <a:pt x="27" y="139"/>
                  </a:lnTo>
                  <a:lnTo>
                    <a:pt x="112" y="139"/>
                  </a:lnTo>
                  <a:lnTo>
                    <a:pt x="112"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6" name="Freeform 31"/>
            <p:cNvSpPr>
              <a:spLocks noEditPoints="1"/>
            </p:cNvSpPr>
            <p:nvPr userDrawn="1"/>
          </p:nvSpPr>
          <p:spPr bwMode="auto">
            <a:xfrm>
              <a:off x="7543800" y="4095751"/>
              <a:ext cx="103188" cy="128588"/>
            </a:xfrm>
            <a:custGeom>
              <a:avLst/>
              <a:gdLst>
                <a:gd name="T0" fmla="*/ 27 w 130"/>
                <a:gd name="T1" fmla="*/ 24 h 164"/>
                <a:gd name="T2" fmla="*/ 27 w 130"/>
                <a:gd name="T3" fmla="*/ 74 h 164"/>
                <a:gd name="T4" fmla="*/ 71 w 130"/>
                <a:gd name="T5" fmla="*/ 74 h 164"/>
                <a:gd name="T6" fmla="*/ 83 w 130"/>
                <a:gd name="T7" fmla="*/ 73 h 164"/>
                <a:gd name="T8" fmla="*/ 91 w 130"/>
                <a:gd name="T9" fmla="*/ 68 h 164"/>
                <a:gd name="T10" fmla="*/ 96 w 130"/>
                <a:gd name="T11" fmla="*/ 60 h 164"/>
                <a:gd name="T12" fmla="*/ 98 w 130"/>
                <a:gd name="T13" fmla="*/ 49 h 164"/>
                <a:gd name="T14" fmla="*/ 96 w 130"/>
                <a:gd name="T15" fmla="*/ 38 h 164"/>
                <a:gd name="T16" fmla="*/ 92 w 130"/>
                <a:gd name="T17" fmla="*/ 31 h 164"/>
                <a:gd name="T18" fmla="*/ 86 w 130"/>
                <a:gd name="T19" fmla="*/ 27 h 164"/>
                <a:gd name="T20" fmla="*/ 79 w 130"/>
                <a:gd name="T21" fmla="*/ 24 h 164"/>
                <a:gd name="T22" fmla="*/ 71 w 130"/>
                <a:gd name="T23" fmla="*/ 24 h 164"/>
                <a:gd name="T24" fmla="*/ 27 w 130"/>
                <a:gd name="T25" fmla="*/ 24 h 164"/>
                <a:gd name="T26" fmla="*/ 0 w 130"/>
                <a:gd name="T27" fmla="*/ 0 h 164"/>
                <a:gd name="T28" fmla="*/ 73 w 130"/>
                <a:gd name="T29" fmla="*/ 0 h 164"/>
                <a:gd name="T30" fmla="*/ 92 w 130"/>
                <a:gd name="T31" fmla="*/ 2 h 164"/>
                <a:gd name="T32" fmla="*/ 106 w 130"/>
                <a:gd name="T33" fmla="*/ 8 h 164"/>
                <a:gd name="T34" fmla="*/ 116 w 130"/>
                <a:gd name="T35" fmla="*/ 17 h 164"/>
                <a:gd name="T36" fmla="*/ 122 w 130"/>
                <a:gd name="T37" fmla="*/ 29 h 164"/>
                <a:gd name="T38" fmla="*/ 124 w 130"/>
                <a:gd name="T39" fmla="*/ 44 h 164"/>
                <a:gd name="T40" fmla="*/ 123 w 130"/>
                <a:gd name="T41" fmla="*/ 58 h 164"/>
                <a:gd name="T42" fmla="*/ 119 w 130"/>
                <a:gd name="T43" fmla="*/ 68 h 164"/>
                <a:gd name="T44" fmla="*/ 114 w 130"/>
                <a:gd name="T45" fmla="*/ 77 h 164"/>
                <a:gd name="T46" fmla="*/ 108 w 130"/>
                <a:gd name="T47" fmla="*/ 81 h 164"/>
                <a:gd name="T48" fmla="*/ 102 w 130"/>
                <a:gd name="T49" fmla="*/ 85 h 164"/>
                <a:gd name="T50" fmla="*/ 99 w 130"/>
                <a:gd name="T51" fmla="*/ 86 h 164"/>
                <a:gd name="T52" fmla="*/ 99 w 130"/>
                <a:gd name="T53" fmla="*/ 86 h 164"/>
                <a:gd name="T54" fmla="*/ 105 w 130"/>
                <a:gd name="T55" fmla="*/ 88 h 164"/>
                <a:gd name="T56" fmla="*/ 112 w 130"/>
                <a:gd name="T57" fmla="*/ 92 h 164"/>
                <a:gd name="T58" fmla="*/ 116 w 130"/>
                <a:gd name="T59" fmla="*/ 97 h 164"/>
                <a:gd name="T60" fmla="*/ 121 w 130"/>
                <a:gd name="T61" fmla="*/ 107 h 164"/>
                <a:gd name="T62" fmla="*/ 122 w 130"/>
                <a:gd name="T63" fmla="*/ 121 h 164"/>
                <a:gd name="T64" fmla="*/ 122 w 130"/>
                <a:gd name="T65" fmla="*/ 135 h 164"/>
                <a:gd name="T66" fmla="*/ 124 w 130"/>
                <a:gd name="T67" fmla="*/ 146 h 164"/>
                <a:gd name="T68" fmla="*/ 127 w 130"/>
                <a:gd name="T69" fmla="*/ 157 h 164"/>
                <a:gd name="T70" fmla="*/ 130 w 130"/>
                <a:gd name="T71" fmla="*/ 164 h 164"/>
                <a:gd name="T72" fmla="*/ 101 w 130"/>
                <a:gd name="T73" fmla="*/ 164 h 164"/>
                <a:gd name="T74" fmla="*/ 98 w 130"/>
                <a:gd name="T75" fmla="*/ 152 h 164"/>
                <a:gd name="T76" fmla="*/ 98 w 130"/>
                <a:gd name="T77" fmla="*/ 139 h 164"/>
                <a:gd name="T78" fmla="*/ 96 w 130"/>
                <a:gd name="T79" fmla="*/ 124 h 164"/>
                <a:gd name="T80" fmla="*/ 94 w 130"/>
                <a:gd name="T81" fmla="*/ 111 h 164"/>
                <a:gd name="T82" fmla="*/ 88 w 130"/>
                <a:gd name="T83" fmla="*/ 103 h 164"/>
                <a:gd name="T84" fmla="*/ 79 w 130"/>
                <a:gd name="T85" fmla="*/ 99 h 164"/>
                <a:gd name="T86" fmla="*/ 68 w 130"/>
                <a:gd name="T87" fmla="*/ 96 h 164"/>
                <a:gd name="T88" fmla="*/ 27 w 130"/>
                <a:gd name="T89" fmla="*/ 96 h 164"/>
                <a:gd name="T90" fmla="*/ 27 w 130"/>
                <a:gd name="T91" fmla="*/ 164 h 164"/>
                <a:gd name="T92" fmla="*/ 0 w 130"/>
                <a:gd name="T93" fmla="*/ 164 h 164"/>
                <a:gd name="T94" fmla="*/ 0 w 130"/>
                <a:gd name="T9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4">
                  <a:moveTo>
                    <a:pt x="27" y="24"/>
                  </a:moveTo>
                  <a:lnTo>
                    <a:pt x="27" y="74"/>
                  </a:lnTo>
                  <a:lnTo>
                    <a:pt x="71" y="74"/>
                  </a:lnTo>
                  <a:lnTo>
                    <a:pt x="83" y="73"/>
                  </a:lnTo>
                  <a:lnTo>
                    <a:pt x="91" y="68"/>
                  </a:lnTo>
                  <a:lnTo>
                    <a:pt x="96" y="60"/>
                  </a:lnTo>
                  <a:lnTo>
                    <a:pt x="98" y="49"/>
                  </a:lnTo>
                  <a:lnTo>
                    <a:pt x="96" y="38"/>
                  </a:lnTo>
                  <a:lnTo>
                    <a:pt x="92" y="31"/>
                  </a:lnTo>
                  <a:lnTo>
                    <a:pt x="86" y="27"/>
                  </a:lnTo>
                  <a:lnTo>
                    <a:pt x="79" y="24"/>
                  </a:lnTo>
                  <a:lnTo>
                    <a:pt x="71" y="24"/>
                  </a:lnTo>
                  <a:lnTo>
                    <a:pt x="27" y="24"/>
                  </a:lnTo>
                  <a:close/>
                  <a:moveTo>
                    <a:pt x="0" y="0"/>
                  </a:moveTo>
                  <a:lnTo>
                    <a:pt x="73" y="0"/>
                  </a:lnTo>
                  <a:lnTo>
                    <a:pt x="92" y="2"/>
                  </a:lnTo>
                  <a:lnTo>
                    <a:pt x="106" y="8"/>
                  </a:lnTo>
                  <a:lnTo>
                    <a:pt x="116" y="17"/>
                  </a:lnTo>
                  <a:lnTo>
                    <a:pt x="122" y="29"/>
                  </a:lnTo>
                  <a:lnTo>
                    <a:pt x="124" y="44"/>
                  </a:lnTo>
                  <a:lnTo>
                    <a:pt x="123" y="58"/>
                  </a:lnTo>
                  <a:lnTo>
                    <a:pt x="119" y="68"/>
                  </a:lnTo>
                  <a:lnTo>
                    <a:pt x="114" y="77"/>
                  </a:lnTo>
                  <a:lnTo>
                    <a:pt x="108" y="81"/>
                  </a:lnTo>
                  <a:lnTo>
                    <a:pt x="102" y="85"/>
                  </a:lnTo>
                  <a:lnTo>
                    <a:pt x="99" y="86"/>
                  </a:lnTo>
                  <a:lnTo>
                    <a:pt x="99" y="86"/>
                  </a:lnTo>
                  <a:lnTo>
                    <a:pt x="105" y="88"/>
                  </a:lnTo>
                  <a:lnTo>
                    <a:pt x="112" y="92"/>
                  </a:lnTo>
                  <a:lnTo>
                    <a:pt x="116" y="97"/>
                  </a:lnTo>
                  <a:lnTo>
                    <a:pt x="121" y="107"/>
                  </a:lnTo>
                  <a:lnTo>
                    <a:pt x="122" y="121"/>
                  </a:lnTo>
                  <a:lnTo>
                    <a:pt x="122" y="135"/>
                  </a:lnTo>
                  <a:lnTo>
                    <a:pt x="124" y="146"/>
                  </a:lnTo>
                  <a:lnTo>
                    <a:pt x="127" y="157"/>
                  </a:lnTo>
                  <a:lnTo>
                    <a:pt x="130" y="164"/>
                  </a:lnTo>
                  <a:lnTo>
                    <a:pt x="101" y="164"/>
                  </a:lnTo>
                  <a:lnTo>
                    <a:pt x="98" y="152"/>
                  </a:lnTo>
                  <a:lnTo>
                    <a:pt x="98" y="139"/>
                  </a:lnTo>
                  <a:lnTo>
                    <a:pt x="96" y="124"/>
                  </a:lnTo>
                  <a:lnTo>
                    <a:pt x="94" y="111"/>
                  </a:lnTo>
                  <a:lnTo>
                    <a:pt x="88" y="103"/>
                  </a:lnTo>
                  <a:lnTo>
                    <a:pt x="79" y="99"/>
                  </a:lnTo>
                  <a:lnTo>
                    <a:pt x="68" y="96"/>
                  </a:lnTo>
                  <a:lnTo>
                    <a:pt x="27" y="96"/>
                  </a:lnTo>
                  <a:lnTo>
                    <a:pt x="27"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7" name="Freeform 32"/>
            <p:cNvSpPr>
              <a:spLocks/>
            </p:cNvSpPr>
            <p:nvPr userDrawn="1"/>
          </p:nvSpPr>
          <p:spPr bwMode="auto">
            <a:xfrm>
              <a:off x="7847013" y="4095751"/>
              <a:ext cx="82550" cy="128588"/>
            </a:xfrm>
            <a:custGeom>
              <a:avLst/>
              <a:gdLst>
                <a:gd name="T0" fmla="*/ 0 w 104"/>
                <a:gd name="T1" fmla="*/ 0 h 164"/>
                <a:gd name="T2" fmla="*/ 26 w 104"/>
                <a:gd name="T3" fmla="*/ 0 h 164"/>
                <a:gd name="T4" fmla="*/ 26 w 104"/>
                <a:gd name="T5" fmla="*/ 139 h 164"/>
                <a:gd name="T6" fmla="*/ 104 w 104"/>
                <a:gd name="T7" fmla="*/ 139 h 164"/>
                <a:gd name="T8" fmla="*/ 104 w 104"/>
                <a:gd name="T9" fmla="*/ 164 h 164"/>
                <a:gd name="T10" fmla="*/ 0 w 104"/>
                <a:gd name="T11" fmla="*/ 164 h 164"/>
                <a:gd name="T12" fmla="*/ 0 w 104"/>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04" h="164">
                  <a:moveTo>
                    <a:pt x="0" y="0"/>
                  </a:moveTo>
                  <a:lnTo>
                    <a:pt x="26" y="0"/>
                  </a:lnTo>
                  <a:lnTo>
                    <a:pt x="26" y="139"/>
                  </a:lnTo>
                  <a:lnTo>
                    <a:pt x="104" y="139"/>
                  </a:lnTo>
                  <a:lnTo>
                    <a:pt x="104"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8" name="Freeform 33"/>
            <p:cNvSpPr>
              <a:spLocks noEditPoints="1"/>
            </p:cNvSpPr>
            <p:nvPr userDrawn="1"/>
          </p:nvSpPr>
          <p:spPr bwMode="auto">
            <a:xfrm>
              <a:off x="8112125" y="4095751"/>
              <a:ext cx="115888" cy="128588"/>
            </a:xfrm>
            <a:custGeom>
              <a:avLst/>
              <a:gdLst>
                <a:gd name="T0" fmla="*/ 72 w 146"/>
                <a:gd name="T1" fmla="*/ 29 h 164"/>
                <a:gd name="T2" fmla="*/ 49 w 146"/>
                <a:gd name="T3" fmla="*/ 99 h 164"/>
                <a:gd name="T4" fmla="*/ 97 w 146"/>
                <a:gd name="T5" fmla="*/ 99 h 164"/>
                <a:gd name="T6" fmla="*/ 73 w 146"/>
                <a:gd name="T7" fmla="*/ 29 h 164"/>
                <a:gd name="T8" fmla="*/ 72 w 146"/>
                <a:gd name="T9" fmla="*/ 29 h 164"/>
                <a:gd name="T10" fmla="*/ 58 w 146"/>
                <a:gd name="T11" fmla="*/ 0 h 164"/>
                <a:gd name="T12" fmla="*/ 87 w 146"/>
                <a:gd name="T13" fmla="*/ 0 h 164"/>
                <a:gd name="T14" fmla="*/ 146 w 146"/>
                <a:gd name="T15" fmla="*/ 164 h 164"/>
                <a:gd name="T16" fmla="*/ 117 w 146"/>
                <a:gd name="T17" fmla="*/ 164 h 164"/>
                <a:gd name="T18" fmla="*/ 104 w 146"/>
                <a:gd name="T19" fmla="*/ 121 h 164"/>
                <a:gd name="T20" fmla="*/ 42 w 146"/>
                <a:gd name="T21" fmla="*/ 121 h 164"/>
                <a:gd name="T22" fmla="*/ 27 w 146"/>
                <a:gd name="T23" fmla="*/ 164 h 164"/>
                <a:gd name="T24" fmla="*/ 0 w 146"/>
                <a:gd name="T25" fmla="*/ 164 h 164"/>
                <a:gd name="T26" fmla="*/ 58 w 146"/>
                <a:gd name="T2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64">
                  <a:moveTo>
                    <a:pt x="72" y="29"/>
                  </a:moveTo>
                  <a:lnTo>
                    <a:pt x="49" y="99"/>
                  </a:lnTo>
                  <a:lnTo>
                    <a:pt x="97" y="99"/>
                  </a:lnTo>
                  <a:lnTo>
                    <a:pt x="73" y="29"/>
                  </a:lnTo>
                  <a:lnTo>
                    <a:pt x="72" y="29"/>
                  </a:lnTo>
                  <a:close/>
                  <a:moveTo>
                    <a:pt x="58" y="0"/>
                  </a:moveTo>
                  <a:lnTo>
                    <a:pt x="87" y="0"/>
                  </a:lnTo>
                  <a:lnTo>
                    <a:pt x="146" y="164"/>
                  </a:lnTo>
                  <a:lnTo>
                    <a:pt x="117" y="164"/>
                  </a:lnTo>
                  <a:lnTo>
                    <a:pt x="104" y="121"/>
                  </a:lnTo>
                  <a:lnTo>
                    <a:pt x="42" y="121"/>
                  </a:lnTo>
                  <a:lnTo>
                    <a:pt x="27" y="164"/>
                  </a:lnTo>
                  <a:lnTo>
                    <a:pt x="0"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59" name="Freeform 34"/>
            <p:cNvSpPr>
              <a:spLocks/>
            </p:cNvSpPr>
            <p:nvPr userDrawn="1"/>
          </p:nvSpPr>
          <p:spPr bwMode="auto">
            <a:xfrm>
              <a:off x="8420100" y="4095751"/>
              <a:ext cx="100013" cy="128588"/>
            </a:xfrm>
            <a:custGeom>
              <a:avLst/>
              <a:gdLst>
                <a:gd name="T0" fmla="*/ 0 w 125"/>
                <a:gd name="T1" fmla="*/ 0 h 164"/>
                <a:gd name="T2" fmla="*/ 29 w 125"/>
                <a:gd name="T3" fmla="*/ 0 h 164"/>
                <a:gd name="T4" fmla="*/ 98 w 125"/>
                <a:gd name="T5" fmla="*/ 121 h 164"/>
                <a:gd name="T6" fmla="*/ 99 w 125"/>
                <a:gd name="T7" fmla="*/ 121 h 164"/>
                <a:gd name="T8" fmla="*/ 99 w 125"/>
                <a:gd name="T9" fmla="*/ 0 h 164"/>
                <a:gd name="T10" fmla="*/ 125 w 125"/>
                <a:gd name="T11" fmla="*/ 0 h 164"/>
                <a:gd name="T12" fmla="*/ 125 w 125"/>
                <a:gd name="T13" fmla="*/ 164 h 164"/>
                <a:gd name="T14" fmla="*/ 96 w 125"/>
                <a:gd name="T15" fmla="*/ 164 h 164"/>
                <a:gd name="T16" fmla="*/ 26 w 125"/>
                <a:gd name="T17" fmla="*/ 44 h 164"/>
                <a:gd name="T18" fmla="*/ 26 w 125"/>
                <a:gd name="T19" fmla="*/ 44 h 164"/>
                <a:gd name="T20" fmla="*/ 26 w 125"/>
                <a:gd name="T21" fmla="*/ 164 h 164"/>
                <a:gd name="T22" fmla="*/ 0 w 125"/>
                <a:gd name="T23" fmla="*/ 164 h 164"/>
                <a:gd name="T24" fmla="*/ 0 w 125"/>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64">
                  <a:moveTo>
                    <a:pt x="0" y="0"/>
                  </a:moveTo>
                  <a:lnTo>
                    <a:pt x="29" y="0"/>
                  </a:lnTo>
                  <a:lnTo>
                    <a:pt x="98" y="121"/>
                  </a:lnTo>
                  <a:lnTo>
                    <a:pt x="99" y="121"/>
                  </a:lnTo>
                  <a:lnTo>
                    <a:pt x="99" y="0"/>
                  </a:lnTo>
                  <a:lnTo>
                    <a:pt x="125" y="0"/>
                  </a:lnTo>
                  <a:lnTo>
                    <a:pt x="125" y="164"/>
                  </a:lnTo>
                  <a:lnTo>
                    <a:pt x="96" y="164"/>
                  </a:lnTo>
                  <a:lnTo>
                    <a:pt x="26" y="44"/>
                  </a:lnTo>
                  <a:lnTo>
                    <a:pt x="26" y="44"/>
                  </a:lnTo>
                  <a:lnTo>
                    <a:pt x="26"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sp>
          <p:nvSpPr>
            <p:cNvPr id="60" name="Freeform 35"/>
            <p:cNvSpPr>
              <a:spLocks noEditPoints="1"/>
            </p:cNvSpPr>
            <p:nvPr userDrawn="1"/>
          </p:nvSpPr>
          <p:spPr bwMode="auto">
            <a:xfrm>
              <a:off x="8726488" y="4095751"/>
              <a:ext cx="104775" cy="128588"/>
            </a:xfrm>
            <a:custGeom>
              <a:avLst/>
              <a:gdLst>
                <a:gd name="T0" fmla="*/ 26 w 130"/>
                <a:gd name="T1" fmla="*/ 24 h 164"/>
                <a:gd name="T2" fmla="*/ 26 w 130"/>
                <a:gd name="T3" fmla="*/ 140 h 164"/>
                <a:gd name="T4" fmla="*/ 53 w 130"/>
                <a:gd name="T5" fmla="*/ 140 h 164"/>
                <a:gd name="T6" fmla="*/ 69 w 130"/>
                <a:gd name="T7" fmla="*/ 139 h 164"/>
                <a:gd name="T8" fmla="*/ 82 w 130"/>
                <a:gd name="T9" fmla="*/ 135 h 164"/>
                <a:gd name="T10" fmla="*/ 91 w 130"/>
                <a:gd name="T11" fmla="*/ 128 h 164"/>
                <a:gd name="T12" fmla="*/ 97 w 130"/>
                <a:gd name="T13" fmla="*/ 118 h 164"/>
                <a:gd name="T14" fmla="*/ 101 w 130"/>
                <a:gd name="T15" fmla="*/ 108 h 164"/>
                <a:gd name="T16" fmla="*/ 104 w 130"/>
                <a:gd name="T17" fmla="*/ 95 h 164"/>
                <a:gd name="T18" fmla="*/ 104 w 130"/>
                <a:gd name="T19" fmla="*/ 82 h 164"/>
                <a:gd name="T20" fmla="*/ 104 w 130"/>
                <a:gd name="T21" fmla="*/ 68 h 164"/>
                <a:gd name="T22" fmla="*/ 101 w 130"/>
                <a:gd name="T23" fmla="*/ 57 h 164"/>
                <a:gd name="T24" fmla="*/ 97 w 130"/>
                <a:gd name="T25" fmla="*/ 45 h 164"/>
                <a:gd name="T26" fmla="*/ 91 w 130"/>
                <a:gd name="T27" fmla="*/ 36 h 164"/>
                <a:gd name="T28" fmla="*/ 82 w 130"/>
                <a:gd name="T29" fmla="*/ 30 h 164"/>
                <a:gd name="T30" fmla="*/ 69 w 130"/>
                <a:gd name="T31" fmla="*/ 26 h 164"/>
                <a:gd name="T32" fmla="*/ 53 w 130"/>
                <a:gd name="T33" fmla="*/ 24 h 164"/>
                <a:gd name="T34" fmla="*/ 26 w 130"/>
                <a:gd name="T35" fmla="*/ 24 h 164"/>
                <a:gd name="T36" fmla="*/ 0 w 130"/>
                <a:gd name="T37" fmla="*/ 0 h 164"/>
                <a:gd name="T38" fmla="*/ 63 w 130"/>
                <a:gd name="T39" fmla="*/ 0 h 164"/>
                <a:gd name="T40" fmla="*/ 82 w 130"/>
                <a:gd name="T41" fmla="*/ 2 h 164"/>
                <a:gd name="T42" fmla="*/ 97 w 130"/>
                <a:gd name="T43" fmla="*/ 9 h 164"/>
                <a:gd name="T44" fmla="*/ 110 w 130"/>
                <a:gd name="T45" fmla="*/ 19 h 164"/>
                <a:gd name="T46" fmla="*/ 119 w 130"/>
                <a:gd name="T47" fmla="*/ 31 h 164"/>
                <a:gd name="T48" fmla="*/ 126 w 130"/>
                <a:gd name="T49" fmla="*/ 46 h 164"/>
                <a:gd name="T50" fmla="*/ 129 w 130"/>
                <a:gd name="T51" fmla="*/ 64 h 164"/>
                <a:gd name="T52" fmla="*/ 130 w 130"/>
                <a:gd name="T53" fmla="*/ 82 h 164"/>
                <a:gd name="T54" fmla="*/ 129 w 130"/>
                <a:gd name="T55" fmla="*/ 101 h 164"/>
                <a:gd name="T56" fmla="*/ 126 w 130"/>
                <a:gd name="T57" fmla="*/ 118 h 164"/>
                <a:gd name="T58" fmla="*/ 119 w 130"/>
                <a:gd name="T59" fmla="*/ 133 h 164"/>
                <a:gd name="T60" fmla="*/ 110 w 130"/>
                <a:gd name="T61" fmla="*/ 146 h 164"/>
                <a:gd name="T62" fmla="*/ 97 w 130"/>
                <a:gd name="T63" fmla="*/ 155 h 164"/>
                <a:gd name="T64" fmla="*/ 82 w 130"/>
                <a:gd name="T65" fmla="*/ 161 h 164"/>
                <a:gd name="T66" fmla="*/ 63 w 130"/>
                <a:gd name="T67" fmla="*/ 164 h 164"/>
                <a:gd name="T68" fmla="*/ 0 w 130"/>
                <a:gd name="T69" fmla="*/ 164 h 164"/>
                <a:gd name="T70" fmla="*/ 0 w 130"/>
                <a:gd name="T7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64">
                  <a:moveTo>
                    <a:pt x="26" y="24"/>
                  </a:moveTo>
                  <a:lnTo>
                    <a:pt x="26" y="140"/>
                  </a:lnTo>
                  <a:lnTo>
                    <a:pt x="53" y="140"/>
                  </a:lnTo>
                  <a:lnTo>
                    <a:pt x="69" y="139"/>
                  </a:lnTo>
                  <a:lnTo>
                    <a:pt x="82" y="135"/>
                  </a:lnTo>
                  <a:lnTo>
                    <a:pt x="91" y="128"/>
                  </a:lnTo>
                  <a:lnTo>
                    <a:pt x="97" y="118"/>
                  </a:lnTo>
                  <a:lnTo>
                    <a:pt x="101" y="108"/>
                  </a:lnTo>
                  <a:lnTo>
                    <a:pt x="104" y="95"/>
                  </a:lnTo>
                  <a:lnTo>
                    <a:pt x="104" y="82"/>
                  </a:lnTo>
                  <a:lnTo>
                    <a:pt x="104" y="68"/>
                  </a:lnTo>
                  <a:lnTo>
                    <a:pt x="101" y="57"/>
                  </a:lnTo>
                  <a:lnTo>
                    <a:pt x="97" y="45"/>
                  </a:lnTo>
                  <a:lnTo>
                    <a:pt x="91" y="36"/>
                  </a:lnTo>
                  <a:lnTo>
                    <a:pt x="82" y="30"/>
                  </a:lnTo>
                  <a:lnTo>
                    <a:pt x="69" y="26"/>
                  </a:lnTo>
                  <a:lnTo>
                    <a:pt x="53" y="24"/>
                  </a:lnTo>
                  <a:lnTo>
                    <a:pt x="26" y="24"/>
                  </a:lnTo>
                  <a:close/>
                  <a:moveTo>
                    <a:pt x="0" y="0"/>
                  </a:moveTo>
                  <a:lnTo>
                    <a:pt x="63" y="0"/>
                  </a:lnTo>
                  <a:lnTo>
                    <a:pt x="82" y="2"/>
                  </a:lnTo>
                  <a:lnTo>
                    <a:pt x="97" y="9"/>
                  </a:lnTo>
                  <a:lnTo>
                    <a:pt x="110" y="19"/>
                  </a:lnTo>
                  <a:lnTo>
                    <a:pt x="119" y="31"/>
                  </a:lnTo>
                  <a:lnTo>
                    <a:pt x="126" y="46"/>
                  </a:lnTo>
                  <a:lnTo>
                    <a:pt x="129" y="64"/>
                  </a:lnTo>
                  <a:lnTo>
                    <a:pt x="130" y="82"/>
                  </a:lnTo>
                  <a:lnTo>
                    <a:pt x="129" y="101"/>
                  </a:lnTo>
                  <a:lnTo>
                    <a:pt x="126" y="118"/>
                  </a:lnTo>
                  <a:lnTo>
                    <a:pt x="119" y="133"/>
                  </a:lnTo>
                  <a:lnTo>
                    <a:pt x="110" y="146"/>
                  </a:lnTo>
                  <a:lnTo>
                    <a:pt x="97" y="155"/>
                  </a:lnTo>
                  <a:lnTo>
                    <a:pt x="82" y="161"/>
                  </a:lnTo>
                  <a:lnTo>
                    <a:pt x="63" y="164"/>
                  </a:lnTo>
                  <a:lnTo>
                    <a:pt x="0" y="1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de-DE">
                <a:solidFill>
                  <a:prstClr val="black"/>
                </a:solidFill>
              </a:endParaRPr>
            </a:p>
          </p:txBody>
        </p:sp>
      </p:grpSp>
    </p:spTree>
    <p:custDataLst>
      <p:tags r:id="rId18"/>
    </p:custDataLst>
    <p:extLst>
      <p:ext uri="{BB962C8B-B14F-4D97-AF65-F5344CB8AC3E}">
        <p14:creationId xmlns:p14="http://schemas.microsoft.com/office/powerpoint/2010/main" val="159947982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Lst>
  <p:txStyles>
    <p:titleStyle>
      <a:lvl1pPr algn="l" defTabSz="121917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0" indent="0" algn="l" defTabSz="1219170" rtl="0" eaLnBrk="1" latinLnBrk="0" hangingPunct="1">
        <a:lnSpc>
          <a:spcPct val="100000"/>
        </a:lnSpc>
        <a:spcBef>
          <a:spcPts val="0"/>
        </a:spcBef>
        <a:spcAft>
          <a:spcPts val="1600"/>
        </a:spcAft>
        <a:buClr>
          <a:schemeClr val="bg1">
            <a:lumMod val="50000"/>
          </a:schemeClr>
        </a:buClr>
        <a:buSzPct val="120000"/>
        <a:buFont typeface="Arial" panose="020B0604020202020204" pitchFamily="34" charset="0"/>
        <a:buNone/>
        <a:defRPr sz="2400" b="1" kern="1200">
          <a:solidFill>
            <a:schemeClr val="tx2"/>
          </a:solidFill>
          <a:latin typeface="+mn-lt"/>
          <a:ea typeface="+mn-ea"/>
          <a:cs typeface="+mn-cs"/>
        </a:defRPr>
      </a:lvl1pPr>
      <a:lvl2pPr marL="287993" indent="-287993" algn="l" defTabSz="1219170" rtl="0" eaLnBrk="1" latinLnBrk="0" hangingPunct="1">
        <a:lnSpc>
          <a:spcPct val="100000"/>
        </a:lnSpc>
        <a:spcBef>
          <a:spcPts val="0"/>
        </a:spcBef>
        <a:spcAft>
          <a:spcPts val="800"/>
        </a:spcAft>
        <a:buClr>
          <a:schemeClr val="tx2"/>
        </a:buClr>
        <a:buSzPct val="120000"/>
        <a:buFont typeface="Arial" panose="020B0604020202020204" pitchFamily="34" charset="0"/>
        <a:buChar char="•"/>
        <a:defRPr lang="de-DE" sz="2100" kern="1200" dirty="0" smtClean="0">
          <a:solidFill>
            <a:schemeClr val="tx1"/>
          </a:solidFill>
          <a:latin typeface="+mn-lt"/>
          <a:ea typeface="+mn-ea"/>
          <a:cs typeface="+mn-cs"/>
        </a:defRPr>
      </a:lvl2pPr>
      <a:lvl3pPr marL="575986" indent="-287993" algn="l" defTabSz="1219170" rtl="0" eaLnBrk="1" latinLnBrk="0" hangingPunct="1">
        <a:lnSpc>
          <a:spcPct val="100000"/>
        </a:lnSpc>
        <a:spcBef>
          <a:spcPts val="0"/>
        </a:spcBef>
        <a:spcAft>
          <a:spcPts val="800"/>
        </a:spcAft>
        <a:buClr>
          <a:schemeClr val="tx2"/>
        </a:buClr>
        <a:buSzPct val="100000"/>
        <a:buFont typeface="Symbol" panose="05050102010706020507" pitchFamily="18" charset="2"/>
        <a:buChar char="-"/>
        <a:defRPr sz="2100" kern="1200">
          <a:solidFill>
            <a:schemeClr val="tx1"/>
          </a:solidFill>
          <a:latin typeface="+mn-lt"/>
          <a:ea typeface="+mn-ea"/>
          <a:cs typeface="+mn-cs"/>
        </a:defRPr>
      </a:lvl3pPr>
      <a:lvl4pPr marL="863978" indent="-287993" algn="l" defTabSz="1219170" rtl="0" eaLnBrk="1" latinLnBrk="0" hangingPunct="1">
        <a:lnSpc>
          <a:spcPct val="100000"/>
        </a:lnSpc>
        <a:spcBef>
          <a:spcPts val="0"/>
        </a:spcBef>
        <a:spcAft>
          <a:spcPts val="800"/>
        </a:spcAft>
        <a:buClr>
          <a:schemeClr val="tx2"/>
        </a:buClr>
        <a:buFont typeface="Arial" panose="020B0604020202020204" pitchFamily="34" charset="0"/>
        <a:buChar char="•"/>
        <a:defRPr sz="2100" kern="1200">
          <a:solidFill>
            <a:schemeClr val="tx1"/>
          </a:solidFill>
          <a:latin typeface="+mn-lt"/>
          <a:ea typeface="+mn-ea"/>
          <a:cs typeface="+mn-cs"/>
        </a:defRPr>
      </a:lvl4pPr>
      <a:lvl5pPr marL="2743131" indent="-304792" algn="l" defTabSz="1219170" rtl="0" eaLnBrk="1" latinLnBrk="0" hangingPunct="1">
        <a:lnSpc>
          <a:spcPts val="2533"/>
        </a:lnSpc>
        <a:spcBef>
          <a:spcPts val="0"/>
        </a:spcBef>
        <a:spcAft>
          <a:spcPts val="800"/>
        </a:spcAft>
        <a:buFont typeface="Arial" panose="020B0604020202020204" pitchFamily="34" charset="0"/>
        <a:buChar char="»"/>
        <a:defRPr sz="21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JP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G"/><Relationship Id="rId10" Type="http://schemas.openxmlformats.org/officeDocument/2006/relationships/image" Target="../media/image46.png"/><Relationship Id="rId4" Type="http://schemas.openxmlformats.org/officeDocument/2006/relationships/image" Target="../media/image40.JPG"/><Relationship Id="rId9"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gif"/><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10.xml"/><Relationship Id="rId6" Type="http://schemas.openxmlformats.org/officeDocument/2006/relationships/image" Target="../media/image18.png"/><Relationship Id="rId5" Type="http://schemas.openxmlformats.org/officeDocument/2006/relationships/image" Target="../media/image17.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0.xml"/><Relationship Id="rId5" Type="http://schemas.openxmlformats.org/officeDocument/2006/relationships/image" Target="../media/image22.jpe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1.emf"/><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A8094C-809D-4B26-BCAA-4E4B75390C6C}"/>
              </a:ext>
            </a:extLst>
          </p:cNvPr>
          <p:cNvSpPr>
            <a:spLocks noGrp="1"/>
          </p:cNvSpPr>
          <p:nvPr>
            <p:ph type="sldNum" idx="12"/>
          </p:nvPr>
        </p:nvSpPr>
        <p:spPr/>
        <p:txBody>
          <a:bodyPr/>
          <a:lstStyle/>
          <a:p>
            <a:pPr marL="0" lvl="0" indent="0">
              <a:spcBef>
                <a:spcPts val="0"/>
              </a:spcBef>
              <a:spcAft>
                <a:spcPts val="0"/>
              </a:spcAft>
              <a:buNone/>
            </a:pPr>
            <a:r>
              <a:rPr lang="de-DE"/>
              <a:t> </a:t>
            </a:r>
          </a:p>
        </p:txBody>
      </p:sp>
      <p:sp>
        <p:nvSpPr>
          <p:cNvPr id="3" name="Title 2">
            <a:extLst>
              <a:ext uri="{FF2B5EF4-FFF2-40B4-BE49-F238E27FC236}">
                <a16:creationId xmlns:a16="http://schemas.microsoft.com/office/drawing/2014/main" id="{23AE17FB-0879-4C7B-9FED-5C964005910C}"/>
              </a:ext>
            </a:extLst>
          </p:cNvPr>
          <p:cNvSpPr>
            <a:spLocks noGrp="1"/>
          </p:cNvSpPr>
          <p:nvPr>
            <p:ph type="title"/>
          </p:nvPr>
        </p:nvSpPr>
        <p:spPr>
          <a:xfrm>
            <a:off x="622300" y="1496024"/>
            <a:ext cx="11262403" cy="5171476"/>
          </a:xfrm>
          <a:noFill/>
        </p:spPr>
        <p:txBody>
          <a:bodyPr/>
          <a:lstStyle/>
          <a:p>
            <a:pPr algn="ctr">
              <a:lnSpc>
                <a:spcPct val="100000"/>
              </a:lnSpc>
            </a:pPr>
            <a:r>
              <a:rPr lang="de-CH" sz="5400" b="1">
                <a:gradFill flip="none" rotWithShape="1">
                  <a:gsLst>
                    <a:gs pos="48000">
                      <a:schemeClr val="bg1"/>
                    </a:gs>
                    <a:gs pos="0">
                      <a:schemeClr val="tx2">
                        <a:lumMod val="60000"/>
                        <a:lumOff val="40000"/>
                      </a:schemeClr>
                    </a:gs>
                    <a:gs pos="100000">
                      <a:schemeClr val="accent5">
                        <a:lumMod val="20000"/>
                        <a:lumOff val="80000"/>
                      </a:schemeClr>
                    </a:gs>
                  </a:gsLst>
                  <a:lin ang="0" scaled="1"/>
                  <a:tileRect/>
                </a:gradFill>
              </a:rPr>
              <a:t>Wann es vernetzten Maschinen </a:t>
            </a:r>
            <a:br>
              <a:rPr lang="de-CH" sz="5400" b="1">
                <a:gradFill flip="none" rotWithShape="1">
                  <a:gsLst>
                    <a:gs pos="48000">
                      <a:schemeClr val="bg1"/>
                    </a:gs>
                    <a:gs pos="0">
                      <a:schemeClr val="tx2">
                        <a:lumMod val="60000"/>
                        <a:lumOff val="40000"/>
                      </a:schemeClr>
                    </a:gs>
                    <a:gs pos="100000">
                      <a:schemeClr val="accent5">
                        <a:lumMod val="20000"/>
                        <a:lumOff val="80000"/>
                      </a:schemeClr>
                    </a:gs>
                  </a:gsLst>
                  <a:lin ang="0" scaled="1"/>
                  <a:tileRect/>
                </a:gradFill>
              </a:rPr>
            </a:br>
            <a:r>
              <a:rPr lang="de-CH" sz="5400" b="1">
                <a:gradFill flip="none" rotWithShape="1">
                  <a:gsLst>
                    <a:gs pos="48000">
                      <a:schemeClr val="bg1"/>
                    </a:gs>
                    <a:gs pos="0">
                      <a:schemeClr val="tx2">
                        <a:lumMod val="60000"/>
                        <a:lumOff val="40000"/>
                      </a:schemeClr>
                    </a:gs>
                    <a:gs pos="100000">
                      <a:schemeClr val="accent5">
                        <a:lumMod val="20000"/>
                        <a:lumOff val="80000"/>
                      </a:schemeClr>
                    </a:gs>
                  </a:gsLst>
                  <a:lin ang="0" scaled="1"/>
                  <a:tileRect/>
                </a:gradFill>
              </a:rPr>
              <a:t>«heiss» und «kalt» wird</a:t>
            </a:r>
            <a:endParaRPr lang="de-CH" sz="5400">
              <a:gradFill flip="none" rotWithShape="1">
                <a:gsLst>
                  <a:gs pos="48000">
                    <a:schemeClr val="bg1"/>
                  </a:gs>
                  <a:gs pos="0">
                    <a:schemeClr val="tx2">
                      <a:lumMod val="60000"/>
                      <a:lumOff val="40000"/>
                    </a:schemeClr>
                  </a:gs>
                  <a:gs pos="100000">
                    <a:schemeClr val="accent5">
                      <a:lumMod val="20000"/>
                      <a:lumOff val="80000"/>
                    </a:schemeClr>
                  </a:gs>
                </a:gsLst>
                <a:lin ang="0" scaled="1"/>
                <a:tileRect/>
              </a:gradFill>
            </a:endParaRPr>
          </a:p>
        </p:txBody>
      </p:sp>
    </p:spTree>
    <p:extLst>
      <p:ext uri="{BB962C8B-B14F-4D97-AF65-F5344CB8AC3E}">
        <p14:creationId xmlns:p14="http://schemas.microsoft.com/office/powerpoint/2010/main" val="393760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690817-DEDD-448A-B3C7-63D38CD78512}"/>
              </a:ext>
            </a:extLst>
          </p:cNvPr>
          <p:cNvSpPr>
            <a:spLocks noGrp="1"/>
          </p:cNvSpPr>
          <p:nvPr>
            <p:ph type="title"/>
          </p:nvPr>
        </p:nvSpPr>
        <p:spPr/>
        <p:txBody>
          <a:bodyPr>
            <a:normAutofit fontScale="90000"/>
          </a:bodyPr>
          <a:lstStyle/>
          <a:p>
            <a:r>
              <a:rPr lang="en-US" err="1"/>
              <a:t>Vorgehen</a:t>
            </a:r>
            <a:endParaRPr lang="de-CH"/>
          </a:p>
        </p:txBody>
      </p:sp>
      <p:pic>
        <p:nvPicPr>
          <p:cNvPr id="10" name="Picture 2">
            <a:extLst>
              <a:ext uri="{FF2B5EF4-FFF2-40B4-BE49-F238E27FC236}">
                <a16:creationId xmlns:a16="http://schemas.microsoft.com/office/drawing/2014/main" id="{3C23E48A-5F41-4E28-8FD6-C426E87B78D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609" b="21263"/>
          <a:stretch/>
        </p:blipFill>
        <p:spPr bwMode="auto">
          <a:xfrm>
            <a:off x="286470" y="1182689"/>
            <a:ext cx="11784078" cy="2927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CE03B62F-EAF0-4630-97E6-BE8678FF4C16}"/>
              </a:ext>
            </a:extLst>
          </p:cNvPr>
          <p:cNvSpPr/>
          <p:nvPr/>
        </p:nvSpPr>
        <p:spPr>
          <a:xfrm>
            <a:off x="287687" y="4606507"/>
            <a:ext cx="11420403" cy="1131848"/>
          </a:xfrm>
          <a:prstGeom prst="rect">
            <a:avLst/>
          </a:prstGeom>
        </p:spPr>
        <p:txBody>
          <a:bodyPr wrap="square">
            <a:spAutoFit/>
          </a:bodyPr>
          <a:lstStyle/>
          <a:p>
            <a:pPr marL="285750" indent="-285750">
              <a:lnSpc>
                <a:spcPct val="150000"/>
              </a:lnSpc>
              <a:buFont typeface="Arial" panose="020B0604020202020204" pitchFamily="34" charset="0"/>
              <a:buChar char="•"/>
            </a:pPr>
            <a:r>
              <a:rPr lang="de-CH">
                <a:solidFill>
                  <a:schemeClr val="lt2"/>
                </a:solidFill>
                <a:latin typeface="Arial"/>
                <a:cs typeface="Arial"/>
                <a:sym typeface="Arial"/>
              </a:rPr>
              <a:t>Lauffähiger Pilot bis Mitte Oktober</a:t>
            </a:r>
          </a:p>
          <a:p>
            <a:pPr marL="285750" indent="-285750">
              <a:lnSpc>
                <a:spcPct val="150000"/>
              </a:lnSpc>
              <a:buFont typeface="Arial" panose="020B0604020202020204" pitchFamily="34" charset="0"/>
              <a:buChar char="•"/>
            </a:pPr>
            <a:r>
              <a:rPr lang="de-CH">
                <a:solidFill>
                  <a:schemeClr val="lt2"/>
                </a:solidFill>
                <a:latin typeface="Arial"/>
                <a:cs typeface="Arial"/>
                <a:sym typeface="Arial"/>
              </a:rPr>
              <a:t>Am 14.3.2018 wird </a:t>
            </a:r>
            <a:r>
              <a:rPr lang="de-CH" err="1">
                <a:solidFill>
                  <a:schemeClr val="lt2"/>
                </a:solidFill>
                <a:latin typeface="Arial"/>
                <a:cs typeface="Arial"/>
                <a:sym typeface="Arial"/>
              </a:rPr>
              <a:t>Agathon</a:t>
            </a:r>
            <a:r>
              <a:rPr lang="de-CH">
                <a:solidFill>
                  <a:schemeClr val="lt2"/>
                </a:solidFill>
                <a:latin typeface="Arial"/>
                <a:cs typeface="Arial"/>
                <a:sym typeface="Arial"/>
              </a:rPr>
              <a:t> den MVP an der </a:t>
            </a:r>
            <a:r>
              <a:rPr lang="de-CH" err="1">
                <a:solidFill>
                  <a:schemeClr val="lt2"/>
                </a:solidFill>
                <a:latin typeface="Arial"/>
                <a:cs typeface="Arial"/>
                <a:sym typeface="Arial"/>
              </a:rPr>
              <a:t>Grindtec</a:t>
            </a:r>
            <a:r>
              <a:rPr lang="de-CH">
                <a:solidFill>
                  <a:schemeClr val="lt2"/>
                </a:solidFill>
                <a:latin typeface="Arial"/>
                <a:cs typeface="Arial"/>
                <a:sym typeface="Arial"/>
              </a:rPr>
              <a:t> in Augsburg präsentieren</a:t>
            </a:r>
          </a:p>
        </p:txBody>
      </p:sp>
      <p:sp>
        <p:nvSpPr>
          <p:cNvPr id="7" name="Rectangle 6">
            <a:extLst>
              <a:ext uri="{FF2B5EF4-FFF2-40B4-BE49-F238E27FC236}">
                <a16:creationId xmlns:a16="http://schemas.microsoft.com/office/drawing/2014/main" id="{B543C5EA-D465-49C7-A698-C9B68B00E351}"/>
              </a:ext>
            </a:extLst>
          </p:cNvPr>
          <p:cNvSpPr/>
          <p:nvPr/>
        </p:nvSpPr>
        <p:spPr>
          <a:xfrm>
            <a:off x="4668246" y="3016576"/>
            <a:ext cx="205411" cy="196643"/>
          </a:xfrm>
          <a:prstGeom prst="rect">
            <a:avLst/>
          </a:prstGeom>
          <a:noFill/>
          <a:effectLst/>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noAutofit/>
          </a:bodyPr>
          <a:lstStyle/>
          <a:p>
            <a:pPr algn="ctr"/>
            <a:endParaRPr lang="de-CH" sz="1600" err="1">
              <a:solidFill>
                <a:schemeClr val="bg1"/>
              </a:solidFill>
            </a:endParaRPr>
          </a:p>
        </p:txBody>
      </p:sp>
      <p:sp>
        <p:nvSpPr>
          <p:cNvPr id="11" name="Rectangle 10">
            <a:extLst>
              <a:ext uri="{FF2B5EF4-FFF2-40B4-BE49-F238E27FC236}">
                <a16:creationId xmlns:a16="http://schemas.microsoft.com/office/drawing/2014/main" id="{F7182433-ABE1-4F44-B249-D55AAEE26B7F}"/>
              </a:ext>
            </a:extLst>
          </p:cNvPr>
          <p:cNvSpPr/>
          <p:nvPr/>
        </p:nvSpPr>
        <p:spPr>
          <a:xfrm>
            <a:off x="11877982" y="3942458"/>
            <a:ext cx="205411" cy="196643"/>
          </a:xfrm>
          <a:prstGeom prst="rect">
            <a:avLst/>
          </a:prstGeom>
          <a:noFill/>
          <a:effectLst/>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noAutofit/>
          </a:bodyPr>
          <a:lstStyle/>
          <a:p>
            <a:pPr algn="ctr"/>
            <a:endParaRPr lang="de-CH" sz="1600" err="1">
              <a:solidFill>
                <a:schemeClr val="bg1"/>
              </a:solidFill>
            </a:endParaRPr>
          </a:p>
        </p:txBody>
      </p:sp>
      <p:sp>
        <p:nvSpPr>
          <p:cNvPr id="12" name="Rectangle 11">
            <a:extLst>
              <a:ext uri="{FF2B5EF4-FFF2-40B4-BE49-F238E27FC236}">
                <a16:creationId xmlns:a16="http://schemas.microsoft.com/office/drawing/2014/main" id="{B2365369-AC73-46F1-B2A1-33DFC3743583}"/>
              </a:ext>
            </a:extLst>
          </p:cNvPr>
          <p:cNvSpPr/>
          <p:nvPr/>
        </p:nvSpPr>
        <p:spPr>
          <a:xfrm>
            <a:off x="2178915" y="4721438"/>
            <a:ext cx="784189" cy="461665"/>
          </a:xfrm>
          <a:prstGeom prst="rect">
            <a:avLst/>
          </a:prstGeom>
        </p:spPr>
        <p:txBody>
          <a:bodyPr wrap="none">
            <a:spAutoFit/>
          </a:bodyPr>
          <a:lstStyle/>
          <a:p>
            <a:r>
              <a:rPr lang="de-CH">
                <a:solidFill>
                  <a:schemeClr val="accent1"/>
                </a:solidFill>
                <a:cs typeface="Arial"/>
                <a:sym typeface="Arial"/>
              </a:rPr>
              <a:t>Pilot</a:t>
            </a:r>
            <a:endParaRPr lang="de-CH">
              <a:solidFill>
                <a:schemeClr val="accent1"/>
              </a:solidFill>
            </a:endParaRPr>
          </a:p>
        </p:txBody>
      </p:sp>
      <p:sp>
        <p:nvSpPr>
          <p:cNvPr id="13" name="Rectangle 12">
            <a:extLst>
              <a:ext uri="{FF2B5EF4-FFF2-40B4-BE49-F238E27FC236}">
                <a16:creationId xmlns:a16="http://schemas.microsoft.com/office/drawing/2014/main" id="{03E7D43A-FE43-4FCB-AC28-5ABD5F321CB9}"/>
              </a:ext>
            </a:extLst>
          </p:cNvPr>
          <p:cNvSpPr/>
          <p:nvPr/>
        </p:nvSpPr>
        <p:spPr>
          <a:xfrm>
            <a:off x="4998399" y="5269876"/>
            <a:ext cx="851515" cy="461665"/>
          </a:xfrm>
          <a:prstGeom prst="rect">
            <a:avLst/>
          </a:prstGeom>
        </p:spPr>
        <p:txBody>
          <a:bodyPr wrap="none">
            <a:spAutoFit/>
          </a:bodyPr>
          <a:lstStyle/>
          <a:p>
            <a:r>
              <a:rPr lang="de-CH">
                <a:solidFill>
                  <a:schemeClr val="accent1"/>
                </a:solidFill>
                <a:cs typeface="Arial"/>
                <a:sym typeface="Arial"/>
              </a:rPr>
              <a:t>MVP</a:t>
            </a:r>
            <a:endParaRPr lang="de-CH">
              <a:solidFill>
                <a:schemeClr val="accent1"/>
              </a:solidFill>
            </a:endParaRPr>
          </a:p>
        </p:txBody>
      </p:sp>
      <p:sp>
        <p:nvSpPr>
          <p:cNvPr id="9" name="Arrow: Down 8">
            <a:extLst>
              <a:ext uri="{FF2B5EF4-FFF2-40B4-BE49-F238E27FC236}">
                <a16:creationId xmlns:a16="http://schemas.microsoft.com/office/drawing/2014/main" id="{65FF064B-5366-4498-B1F2-DF14D174E9E2}"/>
              </a:ext>
            </a:extLst>
          </p:cNvPr>
          <p:cNvSpPr/>
          <p:nvPr/>
        </p:nvSpPr>
        <p:spPr>
          <a:xfrm>
            <a:off x="4689450" y="990827"/>
            <a:ext cx="179636" cy="1979925"/>
          </a:xfrm>
          <a:prstGeom prst="downArrow">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
        <p:nvSpPr>
          <p:cNvPr id="14" name="Arrow: Down 13">
            <a:extLst>
              <a:ext uri="{FF2B5EF4-FFF2-40B4-BE49-F238E27FC236}">
                <a16:creationId xmlns:a16="http://schemas.microsoft.com/office/drawing/2014/main" id="{0455534F-7279-4EF6-93DB-EDDEB8B7869E}"/>
              </a:ext>
            </a:extLst>
          </p:cNvPr>
          <p:cNvSpPr/>
          <p:nvPr/>
        </p:nvSpPr>
        <p:spPr>
          <a:xfrm>
            <a:off x="11892890" y="1019065"/>
            <a:ext cx="179636" cy="2898809"/>
          </a:xfrm>
          <a:prstGeom prst="downArrow">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Tree>
    <p:extLst>
      <p:ext uri="{BB962C8B-B14F-4D97-AF65-F5344CB8AC3E}">
        <p14:creationId xmlns:p14="http://schemas.microsoft.com/office/powerpoint/2010/main" val="270895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childTnLst>
                                </p:cTn>
                              </p:par>
                              <p:par>
                                <p:cTn id="12" presetID="53" presetClass="entr" presetSubtype="16"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500" fill="hold"/>
                                        <p:tgtEl>
                                          <p:spTgt spid="11"/>
                                        </p:tgtEl>
                                        <p:attrNameLst>
                                          <p:attrName>ppt_w</p:attrName>
                                        </p:attrNameLst>
                                      </p:cBhvr>
                                      <p:tavLst>
                                        <p:tav tm="0">
                                          <p:val>
                                            <p:fltVal val="0"/>
                                          </p:val>
                                        </p:tav>
                                        <p:tav tm="100000">
                                          <p:val>
                                            <p:strVal val="#ppt_w"/>
                                          </p:val>
                                        </p:tav>
                                      </p:tavLst>
                                    </p:anim>
                                    <p:anim calcmode="lin" valueType="num">
                                      <p:cBhvr>
                                        <p:cTn id="15" dur="500" fill="hold"/>
                                        <p:tgtEl>
                                          <p:spTgt spid="11"/>
                                        </p:tgtEl>
                                        <p:attrNameLst>
                                          <p:attrName>ppt_h</p:attrName>
                                        </p:attrNameLst>
                                      </p:cBhvr>
                                      <p:tavLst>
                                        <p:tav tm="0">
                                          <p:val>
                                            <p:fltVal val="0"/>
                                          </p:val>
                                        </p:tav>
                                        <p:tav tm="100000">
                                          <p:val>
                                            <p:strVal val="#ppt_h"/>
                                          </p:val>
                                        </p:tav>
                                      </p:tavLst>
                                    </p:anim>
                                    <p:animEffect transition="in" filter="fade">
                                      <p:cBhvr>
                                        <p:cTn id="16" dur="500"/>
                                        <p:tgtEl>
                                          <p:spTgt spid="11"/>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p:bldP spid="13" grpId="0"/>
      <p:bldP spid="9"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5CB69E-B6A7-49F8-A0ED-10124408EF23}"/>
              </a:ext>
            </a:extLst>
          </p:cNvPr>
          <p:cNvSpPr>
            <a:spLocks noGrp="1"/>
          </p:cNvSpPr>
          <p:nvPr>
            <p:ph type="title"/>
          </p:nvPr>
        </p:nvSpPr>
        <p:spPr/>
        <p:txBody>
          <a:bodyPr>
            <a:normAutofit fontScale="90000"/>
          </a:bodyPr>
          <a:lstStyle/>
          <a:p>
            <a:r>
              <a:rPr lang="en-US">
                <a:solidFill>
                  <a:schemeClr val="accent1"/>
                </a:solidFill>
              </a:rPr>
              <a:t>Use Cases </a:t>
            </a:r>
            <a:r>
              <a:rPr lang="en-US"/>
              <a:t>verstehen</a:t>
            </a:r>
            <a:endParaRPr lang="de-CH"/>
          </a:p>
        </p:txBody>
      </p:sp>
      <p:pic>
        <p:nvPicPr>
          <p:cNvPr id="6" name="Picture 5">
            <a:extLst>
              <a:ext uri="{FF2B5EF4-FFF2-40B4-BE49-F238E27FC236}">
                <a16:creationId xmlns:a16="http://schemas.microsoft.com/office/drawing/2014/main" id="{B93515BF-93F8-4933-9887-E288FCDD504B}"/>
              </a:ext>
            </a:extLst>
          </p:cNvPr>
          <p:cNvPicPr>
            <a:picLocks noChangeAspect="1"/>
          </p:cNvPicPr>
          <p:nvPr/>
        </p:nvPicPr>
        <p:blipFill>
          <a:blip r:embed="rId3"/>
          <a:stretch>
            <a:fillRect/>
          </a:stretch>
        </p:blipFill>
        <p:spPr>
          <a:xfrm>
            <a:off x="1108465" y="1063444"/>
            <a:ext cx="9833855" cy="5615863"/>
          </a:xfrm>
          <a:prstGeom prst="rect">
            <a:avLst/>
          </a:prstGeom>
        </p:spPr>
      </p:pic>
      <p:sp>
        <p:nvSpPr>
          <p:cNvPr id="8" name="Rectangle 7">
            <a:extLst>
              <a:ext uri="{FF2B5EF4-FFF2-40B4-BE49-F238E27FC236}">
                <a16:creationId xmlns:a16="http://schemas.microsoft.com/office/drawing/2014/main" id="{27631949-5850-453C-9C17-41588F943BE9}"/>
              </a:ext>
            </a:extLst>
          </p:cNvPr>
          <p:cNvSpPr/>
          <p:nvPr/>
        </p:nvSpPr>
        <p:spPr>
          <a:xfrm>
            <a:off x="5542961" y="1075471"/>
            <a:ext cx="1545996" cy="1262376"/>
          </a:xfrm>
          <a:prstGeom prst="rect">
            <a:avLst/>
          </a:prstGeom>
          <a:solidFill>
            <a:schemeClr val="bg1"/>
          </a:solidFill>
          <a:ln>
            <a:noFill/>
          </a:ln>
        </p:spPr>
        <p:txBody>
          <a:bodyPr wrap="square" lIns="72000" tIns="72000" rIns="72000" bIns="72000" rtlCol="0" anchor="ctr">
            <a:noAutofit/>
          </a:bodyPr>
          <a:lstStyle/>
          <a:p>
            <a:pPr algn="ctr"/>
            <a:endParaRPr lang="de-CH" sz="1600" err="1">
              <a:solidFill>
                <a:schemeClr val="bg1"/>
              </a:solidFill>
            </a:endParaRPr>
          </a:p>
        </p:txBody>
      </p:sp>
      <p:sp>
        <p:nvSpPr>
          <p:cNvPr id="7" name="Arrow: Down 6">
            <a:extLst>
              <a:ext uri="{FF2B5EF4-FFF2-40B4-BE49-F238E27FC236}">
                <a16:creationId xmlns:a16="http://schemas.microsoft.com/office/drawing/2014/main" id="{876DD6BB-E445-44E0-B7F7-B247F20F0F2A}"/>
              </a:ext>
            </a:extLst>
          </p:cNvPr>
          <p:cNvSpPr/>
          <p:nvPr/>
        </p:nvSpPr>
        <p:spPr>
          <a:xfrm rot="16200000" flipH="1">
            <a:off x="6158848" y="-132083"/>
            <a:ext cx="314221" cy="3557751"/>
          </a:xfrm>
          <a:prstGeom prst="downArrow">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pic>
        <p:nvPicPr>
          <p:cNvPr id="9" name="Picture 8">
            <a:extLst>
              <a:ext uri="{FF2B5EF4-FFF2-40B4-BE49-F238E27FC236}">
                <a16:creationId xmlns:a16="http://schemas.microsoft.com/office/drawing/2014/main" id="{CFAD6950-9EDB-4368-BE63-157965ED13DD}"/>
              </a:ext>
            </a:extLst>
          </p:cNvPr>
          <p:cNvPicPr>
            <a:picLocks noChangeAspect="1"/>
          </p:cNvPicPr>
          <p:nvPr/>
        </p:nvPicPr>
        <p:blipFill>
          <a:blip r:embed="rId4"/>
          <a:stretch>
            <a:fillRect/>
          </a:stretch>
        </p:blipFill>
        <p:spPr>
          <a:xfrm>
            <a:off x="5858758" y="1308654"/>
            <a:ext cx="914400" cy="676275"/>
          </a:xfrm>
          <a:prstGeom prst="rect">
            <a:avLst/>
          </a:prstGeom>
        </p:spPr>
      </p:pic>
    </p:spTree>
    <p:extLst>
      <p:ext uri="{BB962C8B-B14F-4D97-AF65-F5344CB8AC3E}">
        <p14:creationId xmlns:p14="http://schemas.microsoft.com/office/powerpoint/2010/main" val="859039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B5DCF34B-2389-4C6C-A9D4-D08B37556CEF}"/>
              </a:ext>
            </a:extLst>
          </p:cNvPr>
          <p:cNvGraphicFramePr/>
          <p:nvPr>
            <p:extLst>
              <p:ext uri="{D42A27DB-BD31-4B8C-83A1-F6EECF244321}">
                <p14:modId xmlns:p14="http://schemas.microsoft.com/office/powerpoint/2010/main" val="1873557082"/>
              </p:ext>
            </p:extLst>
          </p:nvPr>
        </p:nvGraphicFramePr>
        <p:xfrm>
          <a:off x="430336" y="949912"/>
          <a:ext cx="11331328" cy="5865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713BD433-7151-4665-B992-5D19BE15FF5B}"/>
              </a:ext>
            </a:extLst>
          </p:cNvPr>
          <p:cNvGrpSpPr/>
          <p:nvPr/>
        </p:nvGrpSpPr>
        <p:grpSpPr>
          <a:xfrm>
            <a:off x="2133373" y="3594996"/>
            <a:ext cx="1165361" cy="582680"/>
            <a:chOff x="1703433" y="2641325"/>
            <a:chExt cx="1165361" cy="582680"/>
          </a:xfrm>
        </p:grpSpPr>
        <p:sp>
          <p:nvSpPr>
            <p:cNvPr id="22" name="Rectangle 21">
              <a:extLst>
                <a:ext uri="{FF2B5EF4-FFF2-40B4-BE49-F238E27FC236}">
                  <a16:creationId xmlns:a16="http://schemas.microsoft.com/office/drawing/2014/main" id="{4C601C9C-5C56-4DBE-8DCE-1E68211990CC}"/>
                </a:ext>
              </a:extLst>
            </p:cNvPr>
            <p:cNvSpPr/>
            <p:nvPr/>
          </p:nvSpPr>
          <p:spPr>
            <a:xfrm>
              <a:off x="1703433" y="264132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25" name="TextBox 24">
              <a:extLst>
                <a:ext uri="{FF2B5EF4-FFF2-40B4-BE49-F238E27FC236}">
                  <a16:creationId xmlns:a16="http://schemas.microsoft.com/office/drawing/2014/main" id="{9BC7E957-DFB2-4616-958E-9446EEDE35E8}"/>
                </a:ext>
              </a:extLst>
            </p:cNvPr>
            <p:cNvSpPr txBox="1"/>
            <p:nvPr/>
          </p:nvSpPr>
          <p:spPr>
            <a:xfrm>
              <a:off x="1703433" y="264132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Verfügbarkeit</a:t>
              </a:r>
              <a:endParaRPr lang="de-CH" sz="1200" kern="1200"/>
            </a:p>
          </p:txBody>
        </p:sp>
      </p:grpSp>
      <p:grpSp>
        <p:nvGrpSpPr>
          <p:cNvPr id="26" name="Group 25">
            <a:extLst>
              <a:ext uri="{FF2B5EF4-FFF2-40B4-BE49-F238E27FC236}">
                <a16:creationId xmlns:a16="http://schemas.microsoft.com/office/drawing/2014/main" id="{80D68960-AA50-43D9-894C-A72922E87677}"/>
              </a:ext>
            </a:extLst>
          </p:cNvPr>
          <p:cNvGrpSpPr/>
          <p:nvPr/>
        </p:nvGrpSpPr>
        <p:grpSpPr>
          <a:xfrm>
            <a:off x="3557033" y="2761417"/>
            <a:ext cx="1165361" cy="582680"/>
            <a:chOff x="3113521" y="1813918"/>
            <a:chExt cx="1165361" cy="582680"/>
          </a:xfrm>
        </p:grpSpPr>
        <p:sp>
          <p:nvSpPr>
            <p:cNvPr id="27" name="Rectangle 26">
              <a:extLst>
                <a:ext uri="{FF2B5EF4-FFF2-40B4-BE49-F238E27FC236}">
                  <a16:creationId xmlns:a16="http://schemas.microsoft.com/office/drawing/2014/main" id="{1E5077C8-57FE-4A6C-8120-795100D98DD1}"/>
                </a:ext>
              </a:extLst>
            </p:cNvPr>
            <p:cNvSpPr/>
            <p:nvPr/>
          </p:nvSpPr>
          <p:spPr>
            <a:xfrm>
              <a:off x="3113521"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28" name="TextBox 27">
              <a:extLst>
                <a:ext uri="{FF2B5EF4-FFF2-40B4-BE49-F238E27FC236}">
                  <a16:creationId xmlns:a16="http://schemas.microsoft.com/office/drawing/2014/main" id="{E11EFB16-3C6B-48E3-92BC-BD0299043B2B}"/>
                </a:ext>
              </a:extLst>
            </p:cNvPr>
            <p:cNvSpPr txBox="1"/>
            <p:nvPr/>
          </p:nvSpPr>
          <p:spPr>
            <a:xfrm>
              <a:off x="3113521"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Optimale</a:t>
              </a:r>
              <a:r>
                <a:rPr lang="en-US" sz="1200" kern="1200"/>
                <a:t> </a:t>
              </a:r>
              <a:r>
                <a:rPr lang="en-US" sz="1200" kern="1200" err="1"/>
                <a:t>Erkennbarkeit</a:t>
              </a:r>
              <a:endParaRPr lang="de-CH" sz="1200" kern="1200"/>
            </a:p>
          </p:txBody>
        </p:sp>
      </p:grpSp>
      <p:grpSp>
        <p:nvGrpSpPr>
          <p:cNvPr id="29" name="Group 28">
            <a:extLst>
              <a:ext uri="{FF2B5EF4-FFF2-40B4-BE49-F238E27FC236}">
                <a16:creationId xmlns:a16="http://schemas.microsoft.com/office/drawing/2014/main" id="{7DAB7519-1286-460A-A480-8A8151E0DC55}"/>
              </a:ext>
            </a:extLst>
          </p:cNvPr>
          <p:cNvGrpSpPr/>
          <p:nvPr/>
        </p:nvGrpSpPr>
        <p:grpSpPr>
          <a:xfrm>
            <a:off x="3557033" y="6071206"/>
            <a:ext cx="1165361" cy="582680"/>
            <a:chOff x="3113521" y="5123545"/>
            <a:chExt cx="1165361" cy="582680"/>
          </a:xfrm>
        </p:grpSpPr>
        <p:sp>
          <p:nvSpPr>
            <p:cNvPr id="30" name="Rectangle 29">
              <a:extLst>
                <a:ext uri="{FF2B5EF4-FFF2-40B4-BE49-F238E27FC236}">
                  <a16:creationId xmlns:a16="http://schemas.microsoft.com/office/drawing/2014/main" id="{4048AE98-4E21-47B9-B1A4-DC61941B0325}"/>
                </a:ext>
              </a:extLst>
            </p:cNvPr>
            <p:cNvSpPr/>
            <p:nvPr/>
          </p:nvSpPr>
          <p:spPr>
            <a:xfrm>
              <a:off x="3113521" y="512354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31" name="TextBox 30">
              <a:extLst>
                <a:ext uri="{FF2B5EF4-FFF2-40B4-BE49-F238E27FC236}">
                  <a16:creationId xmlns:a16="http://schemas.microsoft.com/office/drawing/2014/main" id="{6747DE75-80D3-4238-A56C-471F37DB9867}"/>
                </a:ext>
              </a:extLst>
            </p:cNvPr>
            <p:cNvSpPr txBox="1"/>
            <p:nvPr/>
          </p:nvSpPr>
          <p:spPr>
            <a:xfrm>
              <a:off x="3113521" y="512354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Ästhetisches</a:t>
              </a:r>
              <a:r>
                <a:rPr lang="en-US" sz="1200" kern="1200"/>
                <a:t> User Interface</a:t>
              </a:r>
              <a:endParaRPr lang="de-CH" sz="1200" kern="1200"/>
            </a:p>
          </p:txBody>
        </p:sp>
      </p:grpSp>
      <p:grpSp>
        <p:nvGrpSpPr>
          <p:cNvPr id="32" name="Group 31">
            <a:extLst>
              <a:ext uri="{FF2B5EF4-FFF2-40B4-BE49-F238E27FC236}">
                <a16:creationId xmlns:a16="http://schemas.microsoft.com/office/drawing/2014/main" id="{13C47EBA-8B30-4AB8-B0E4-269F66360A1C}"/>
              </a:ext>
            </a:extLst>
          </p:cNvPr>
          <p:cNvGrpSpPr/>
          <p:nvPr/>
        </p:nvGrpSpPr>
        <p:grpSpPr>
          <a:xfrm>
            <a:off x="4957078" y="2773111"/>
            <a:ext cx="1165361" cy="582680"/>
            <a:chOff x="4523609" y="1813918"/>
            <a:chExt cx="1165361" cy="582680"/>
          </a:xfrm>
        </p:grpSpPr>
        <p:sp>
          <p:nvSpPr>
            <p:cNvPr id="36" name="Rectangle 35">
              <a:extLst>
                <a:ext uri="{FF2B5EF4-FFF2-40B4-BE49-F238E27FC236}">
                  <a16:creationId xmlns:a16="http://schemas.microsoft.com/office/drawing/2014/main" id="{C69B2B5E-5458-4F8B-885A-74BFC1336C81}"/>
                </a:ext>
              </a:extLst>
            </p:cNvPr>
            <p:cNvSpPr/>
            <p:nvPr/>
          </p:nvSpPr>
          <p:spPr>
            <a:xfrm>
              <a:off x="4523609"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37" name="TextBox 36">
              <a:extLst>
                <a:ext uri="{FF2B5EF4-FFF2-40B4-BE49-F238E27FC236}">
                  <a16:creationId xmlns:a16="http://schemas.microsoft.com/office/drawing/2014/main" id="{D0981F41-F48B-47CD-ACB2-BF79E9030878}"/>
                </a:ext>
              </a:extLst>
            </p:cNvPr>
            <p:cNvSpPr txBox="1"/>
            <p:nvPr/>
          </p:nvSpPr>
          <p:spPr>
            <a:xfrm>
              <a:off x="4523609"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Datenschutz</a:t>
              </a:r>
              <a:endParaRPr lang="de-CH" sz="1200" kern="1200"/>
            </a:p>
          </p:txBody>
        </p:sp>
      </p:grpSp>
      <p:grpSp>
        <p:nvGrpSpPr>
          <p:cNvPr id="33" name="Group 32">
            <a:extLst>
              <a:ext uri="{FF2B5EF4-FFF2-40B4-BE49-F238E27FC236}">
                <a16:creationId xmlns:a16="http://schemas.microsoft.com/office/drawing/2014/main" id="{6DD44ABA-BE67-44D0-B890-CB1499DC432E}"/>
              </a:ext>
            </a:extLst>
          </p:cNvPr>
          <p:cNvGrpSpPr/>
          <p:nvPr/>
        </p:nvGrpSpPr>
        <p:grpSpPr>
          <a:xfrm>
            <a:off x="6367166" y="2773111"/>
            <a:ext cx="1165361" cy="582680"/>
            <a:chOff x="5933697" y="1813918"/>
            <a:chExt cx="1165361" cy="582680"/>
          </a:xfrm>
        </p:grpSpPr>
        <p:sp>
          <p:nvSpPr>
            <p:cNvPr id="34" name="Rectangle 33">
              <a:extLst>
                <a:ext uri="{FF2B5EF4-FFF2-40B4-BE49-F238E27FC236}">
                  <a16:creationId xmlns:a16="http://schemas.microsoft.com/office/drawing/2014/main" id="{40D63D16-08D1-4EF9-A21E-F749EE7078D0}"/>
                </a:ext>
              </a:extLst>
            </p:cNvPr>
            <p:cNvSpPr/>
            <p:nvPr/>
          </p:nvSpPr>
          <p:spPr>
            <a:xfrm>
              <a:off x="5933697"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35" name="TextBox 34">
              <a:extLst>
                <a:ext uri="{FF2B5EF4-FFF2-40B4-BE49-F238E27FC236}">
                  <a16:creationId xmlns:a16="http://schemas.microsoft.com/office/drawing/2014/main" id="{2E4244E7-2074-4DBD-BE45-B2E2289A9029}"/>
                </a:ext>
              </a:extLst>
            </p:cNvPr>
            <p:cNvSpPr txBox="1"/>
            <p:nvPr/>
          </p:nvSpPr>
          <p:spPr>
            <a:xfrm>
              <a:off x="5933697"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Zeitverhalten</a:t>
              </a:r>
              <a:endParaRPr lang="de-CH" sz="1200" kern="1200"/>
            </a:p>
          </p:txBody>
        </p:sp>
      </p:grpSp>
      <p:grpSp>
        <p:nvGrpSpPr>
          <p:cNvPr id="38" name="Group 37">
            <a:extLst>
              <a:ext uri="{FF2B5EF4-FFF2-40B4-BE49-F238E27FC236}">
                <a16:creationId xmlns:a16="http://schemas.microsoft.com/office/drawing/2014/main" id="{EC6995DD-1EA3-4704-9EAD-7972508F674D}"/>
              </a:ext>
            </a:extLst>
          </p:cNvPr>
          <p:cNvGrpSpPr/>
          <p:nvPr/>
        </p:nvGrpSpPr>
        <p:grpSpPr>
          <a:xfrm>
            <a:off x="7777254" y="2751990"/>
            <a:ext cx="1165361" cy="582680"/>
            <a:chOff x="7343784" y="1813918"/>
            <a:chExt cx="1165361" cy="582680"/>
          </a:xfrm>
        </p:grpSpPr>
        <p:sp>
          <p:nvSpPr>
            <p:cNvPr id="51" name="Rectangle 50">
              <a:extLst>
                <a:ext uri="{FF2B5EF4-FFF2-40B4-BE49-F238E27FC236}">
                  <a16:creationId xmlns:a16="http://schemas.microsoft.com/office/drawing/2014/main" id="{6207C6CD-6375-4049-89C8-B91A53BC849E}"/>
                </a:ext>
              </a:extLst>
            </p:cNvPr>
            <p:cNvSpPr/>
            <p:nvPr/>
          </p:nvSpPr>
          <p:spPr>
            <a:xfrm>
              <a:off x="7343784"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52" name="TextBox 51">
              <a:extLst>
                <a:ext uri="{FF2B5EF4-FFF2-40B4-BE49-F238E27FC236}">
                  <a16:creationId xmlns:a16="http://schemas.microsoft.com/office/drawing/2014/main" id="{C40A0443-05FA-4C20-9420-4FAFD4B6638B}"/>
                </a:ext>
              </a:extLst>
            </p:cNvPr>
            <p:cNvSpPr txBox="1"/>
            <p:nvPr/>
          </p:nvSpPr>
          <p:spPr>
            <a:xfrm>
              <a:off x="7343784"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Modularer</a:t>
              </a:r>
              <a:r>
                <a:rPr lang="en-US" sz="1200" kern="1200"/>
                <a:t> Aufbau</a:t>
              </a:r>
              <a:endParaRPr lang="de-CH" sz="1200" kern="1200"/>
            </a:p>
          </p:txBody>
        </p:sp>
      </p:grpSp>
      <p:grpSp>
        <p:nvGrpSpPr>
          <p:cNvPr id="39" name="Group 38">
            <a:extLst>
              <a:ext uri="{FF2B5EF4-FFF2-40B4-BE49-F238E27FC236}">
                <a16:creationId xmlns:a16="http://schemas.microsoft.com/office/drawing/2014/main" id="{82FA9AFA-8313-4AFE-A68B-7573BD74C67E}"/>
              </a:ext>
            </a:extLst>
          </p:cNvPr>
          <p:cNvGrpSpPr/>
          <p:nvPr/>
        </p:nvGrpSpPr>
        <p:grpSpPr>
          <a:xfrm>
            <a:off x="7777254" y="3579397"/>
            <a:ext cx="1165361" cy="582680"/>
            <a:chOff x="7343784" y="2641325"/>
            <a:chExt cx="1165361" cy="582680"/>
          </a:xfrm>
        </p:grpSpPr>
        <p:sp>
          <p:nvSpPr>
            <p:cNvPr id="49" name="Rectangle 48">
              <a:extLst>
                <a:ext uri="{FF2B5EF4-FFF2-40B4-BE49-F238E27FC236}">
                  <a16:creationId xmlns:a16="http://schemas.microsoft.com/office/drawing/2014/main" id="{59D7DE21-9837-4E17-98D4-1E27F89B907E}"/>
                </a:ext>
              </a:extLst>
            </p:cNvPr>
            <p:cNvSpPr/>
            <p:nvPr/>
          </p:nvSpPr>
          <p:spPr>
            <a:xfrm>
              <a:off x="7343784" y="264132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50" name="TextBox 49">
              <a:extLst>
                <a:ext uri="{FF2B5EF4-FFF2-40B4-BE49-F238E27FC236}">
                  <a16:creationId xmlns:a16="http://schemas.microsoft.com/office/drawing/2014/main" id="{6B586132-F180-4F59-9078-971EBD0F9DF4}"/>
                </a:ext>
              </a:extLst>
            </p:cNvPr>
            <p:cNvSpPr txBox="1"/>
            <p:nvPr/>
          </p:nvSpPr>
          <p:spPr>
            <a:xfrm>
              <a:off x="7343784" y="264132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Wieder-verwendbarkeit</a:t>
              </a:r>
              <a:endParaRPr lang="de-CH" sz="1200" kern="1200"/>
            </a:p>
          </p:txBody>
        </p:sp>
      </p:grpSp>
      <p:grpSp>
        <p:nvGrpSpPr>
          <p:cNvPr id="40" name="Group 39">
            <a:extLst>
              <a:ext uri="{FF2B5EF4-FFF2-40B4-BE49-F238E27FC236}">
                <a16:creationId xmlns:a16="http://schemas.microsoft.com/office/drawing/2014/main" id="{67A50B12-CB3C-41AC-A95F-1AB2E82C9C59}"/>
              </a:ext>
            </a:extLst>
          </p:cNvPr>
          <p:cNvGrpSpPr/>
          <p:nvPr/>
        </p:nvGrpSpPr>
        <p:grpSpPr>
          <a:xfrm>
            <a:off x="7777254" y="4406803"/>
            <a:ext cx="1165361" cy="582680"/>
            <a:chOff x="7343784" y="3468731"/>
            <a:chExt cx="1165361" cy="582680"/>
          </a:xfrm>
        </p:grpSpPr>
        <p:sp>
          <p:nvSpPr>
            <p:cNvPr id="47" name="Rectangle 46">
              <a:extLst>
                <a:ext uri="{FF2B5EF4-FFF2-40B4-BE49-F238E27FC236}">
                  <a16:creationId xmlns:a16="http://schemas.microsoft.com/office/drawing/2014/main" id="{B105D671-496A-43A0-9D71-623E6DC18E7F}"/>
                </a:ext>
              </a:extLst>
            </p:cNvPr>
            <p:cNvSpPr/>
            <p:nvPr/>
          </p:nvSpPr>
          <p:spPr>
            <a:xfrm>
              <a:off x="7343784" y="3468731"/>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48" name="TextBox 47">
              <a:extLst>
                <a:ext uri="{FF2B5EF4-FFF2-40B4-BE49-F238E27FC236}">
                  <a16:creationId xmlns:a16="http://schemas.microsoft.com/office/drawing/2014/main" id="{10A264A1-0DF6-494D-9904-C0BDF90646BD}"/>
                </a:ext>
              </a:extLst>
            </p:cNvPr>
            <p:cNvSpPr txBox="1"/>
            <p:nvPr/>
          </p:nvSpPr>
          <p:spPr>
            <a:xfrm>
              <a:off x="7343784" y="3468731"/>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Gute</a:t>
              </a:r>
              <a:r>
                <a:rPr lang="en-US" sz="1200" kern="1200"/>
                <a:t> </a:t>
              </a:r>
              <a:r>
                <a:rPr lang="en-US" sz="1200" kern="1200" err="1"/>
                <a:t>Analyse-Funktion</a:t>
              </a:r>
              <a:endParaRPr lang="de-CH" sz="1200" kern="1200"/>
            </a:p>
          </p:txBody>
        </p:sp>
      </p:grpSp>
      <p:grpSp>
        <p:nvGrpSpPr>
          <p:cNvPr id="41" name="Group 40">
            <a:extLst>
              <a:ext uri="{FF2B5EF4-FFF2-40B4-BE49-F238E27FC236}">
                <a16:creationId xmlns:a16="http://schemas.microsoft.com/office/drawing/2014/main" id="{52CBF816-2BAE-4177-A610-5883CF69E2C7}"/>
              </a:ext>
            </a:extLst>
          </p:cNvPr>
          <p:cNvGrpSpPr/>
          <p:nvPr/>
        </p:nvGrpSpPr>
        <p:grpSpPr>
          <a:xfrm>
            <a:off x="7777254" y="5234210"/>
            <a:ext cx="1165361" cy="582680"/>
            <a:chOff x="7343784" y="4296138"/>
            <a:chExt cx="1165361" cy="582680"/>
          </a:xfrm>
        </p:grpSpPr>
        <p:sp>
          <p:nvSpPr>
            <p:cNvPr id="45" name="Rectangle 44">
              <a:extLst>
                <a:ext uri="{FF2B5EF4-FFF2-40B4-BE49-F238E27FC236}">
                  <a16:creationId xmlns:a16="http://schemas.microsoft.com/office/drawing/2014/main" id="{BD0AA8D1-3BDB-4FD6-AEAF-FCF8FEB41A9A}"/>
                </a:ext>
              </a:extLst>
            </p:cNvPr>
            <p:cNvSpPr/>
            <p:nvPr/>
          </p:nvSpPr>
          <p:spPr>
            <a:xfrm>
              <a:off x="7343784" y="429613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46" name="TextBox 45">
              <a:extLst>
                <a:ext uri="{FF2B5EF4-FFF2-40B4-BE49-F238E27FC236}">
                  <a16:creationId xmlns:a16="http://schemas.microsoft.com/office/drawing/2014/main" id="{1D41C14C-3A28-4E9E-A0A5-3E8E45D495A3}"/>
                </a:ext>
              </a:extLst>
            </p:cNvPr>
            <p:cNvSpPr txBox="1"/>
            <p:nvPr/>
          </p:nvSpPr>
          <p:spPr>
            <a:xfrm>
              <a:off x="7343784" y="429613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icht </a:t>
              </a:r>
              <a:r>
                <a:rPr lang="en-US" sz="1200" kern="1200" err="1"/>
                <a:t>modifizierbar</a:t>
              </a:r>
              <a:endParaRPr lang="de-CH" sz="1200" kern="1200"/>
            </a:p>
          </p:txBody>
        </p:sp>
      </p:grpSp>
      <p:grpSp>
        <p:nvGrpSpPr>
          <p:cNvPr id="42" name="Group 41">
            <a:extLst>
              <a:ext uri="{FF2B5EF4-FFF2-40B4-BE49-F238E27FC236}">
                <a16:creationId xmlns:a16="http://schemas.microsoft.com/office/drawing/2014/main" id="{95810B75-68B1-4ED5-8587-119E14BDFCA4}"/>
              </a:ext>
            </a:extLst>
          </p:cNvPr>
          <p:cNvGrpSpPr/>
          <p:nvPr/>
        </p:nvGrpSpPr>
        <p:grpSpPr>
          <a:xfrm>
            <a:off x="7777254" y="6061617"/>
            <a:ext cx="1165361" cy="582680"/>
            <a:chOff x="7343784" y="5123545"/>
            <a:chExt cx="1165361" cy="582680"/>
          </a:xfrm>
        </p:grpSpPr>
        <p:sp>
          <p:nvSpPr>
            <p:cNvPr id="43" name="Rectangle 42">
              <a:extLst>
                <a:ext uri="{FF2B5EF4-FFF2-40B4-BE49-F238E27FC236}">
                  <a16:creationId xmlns:a16="http://schemas.microsoft.com/office/drawing/2014/main" id="{5B1B706F-9DC7-4B9A-AB28-4C68668DD8D6}"/>
                </a:ext>
              </a:extLst>
            </p:cNvPr>
            <p:cNvSpPr/>
            <p:nvPr/>
          </p:nvSpPr>
          <p:spPr>
            <a:xfrm>
              <a:off x="7343784" y="512354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44" name="TextBox 43">
              <a:extLst>
                <a:ext uri="{FF2B5EF4-FFF2-40B4-BE49-F238E27FC236}">
                  <a16:creationId xmlns:a16="http://schemas.microsoft.com/office/drawing/2014/main" id="{9FFF93BA-D453-4CCB-8564-9E8700EDDF72}"/>
                </a:ext>
              </a:extLst>
            </p:cNvPr>
            <p:cNvSpPr txBox="1"/>
            <p:nvPr/>
          </p:nvSpPr>
          <p:spPr>
            <a:xfrm>
              <a:off x="7343784" y="5123545"/>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Umfangreiche</a:t>
              </a:r>
              <a:r>
                <a:rPr lang="en-US" sz="1200" kern="1200"/>
                <a:t> </a:t>
              </a:r>
              <a:r>
                <a:rPr lang="en-US" sz="1200" kern="1200" err="1"/>
                <a:t>Testoptionen</a:t>
              </a:r>
              <a:endParaRPr lang="de-CH" sz="1200" kern="1200"/>
            </a:p>
          </p:txBody>
        </p:sp>
      </p:grpSp>
      <p:grpSp>
        <p:nvGrpSpPr>
          <p:cNvPr id="53" name="Group 52">
            <a:extLst>
              <a:ext uri="{FF2B5EF4-FFF2-40B4-BE49-F238E27FC236}">
                <a16:creationId xmlns:a16="http://schemas.microsoft.com/office/drawing/2014/main" id="{A5C40F29-C543-49C2-AB24-A8CA86FD3BC5}"/>
              </a:ext>
            </a:extLst>
          </p:cNvPr>
          <p:cNvGrpSpPr/>
          <p:nvPr/>
        </p:nvGrpSpPr>
        <p:grpSpPr>
          <a:xfrm>
            <a:off x="9187342" y="2772474"/>
            <a:ext cx="1165361" cy="582680"/>
            <a:chOff x="8753872" y="1813918"/>
            <a:chExt cx="1165361" cy="582680"/>
          </a:xfrm>
        </p:grpSpPr>
        <p:sp>
          <p:nvSpPr>
            <p:cNvPr id="57" name="Rectangle 56">
              <a:extLst>
                <a:ext uri="{FF2B5EF4-FFF2-40B4-BE49-F238E27FC236}">
                  <a16:creationId xmlns:a16="http://schemas.microsoft.com/office/drawing/2014/main" id="{DDF0C425-CB1C-4A90-9534-4386DDCE4DD1}"/>
                </a:ext>
              </a:extLst>
            </p:cNvPr>
            <p:cNvSpPr/>
            <p:nvPr/>
          </p:nvSpPr>
          <p:spPr>
            <a:xfrm>
              <a:off x="8753872"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58" name="TextBox 57">
              <a:extLst>
                <a:ext uri="{FF2B5EF4-FFF2-40B4-BE49-F238E27FC236}">
                  <a16:creationId xmlns:a16="http://schemas.microsoft.com/office/drawing/2014/main" id="{7C284637-F75E-4E8F-B8A4-CED172FA0E3D}"/>
                </a:ext>
              </a:extLst>
            </p:cNvPr>
            <p:cNvSpPr txBox="1"/>
            <p:nvPr/>
          </p:nvSpPr>
          <p:spPr>
            <a:xfrm>
              <a:off x="8753872" y="1813918"/>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icht </a:t>
              </a:r>
              <a:r>
                <a:rPr lang="en-US" sz="1200" kern="1200" err="1"/>
                <a:t>zu</a:t>
              </a:r>
              <a:r>
                <a:rPr lang="en-US" sz="1200" kern="1200"/>
                <a:t> </a:t>
              </a:r>
              <a:r>
                <a:rPr lang="en-US" sz="1200" kern="1200" err="1"/>
                <a:t>installieren</a:t>
              </a:r>
              <a:endParaRPr lang="de-CH" sz="1200" kern="1200"/>
            </a:p>
          </p:txBody>
        </p:sp>
      </p:grpSp>
      <p:grpSp>
        <p:nvGrpSpPr>
          <p:cNvPr id="54" name="Group 53">
            <a:extLst>
              <a:ext uri="{FF2B5EF4-FFF2-40B4-BE49-F238E27FC236}">
                <a16:creationId xmlns:a16="http://schemas.microsoft.com/office/drawing/2014/main" id="{2E0AC2E6-DF67-4A4E-A2CC-048206B24580}"/>
              </a:ext>
            </a:extLst>
          </p:cNvPr>
          <p:cNvGrpSpPr/>
          <p:nvPr/>
        </p:nvGrpSpPr>
        <p:grpSpPr>
          <a:xfrm>
            <a:off x="9187342" y="4427287"/>
            <a:ext cx="1165361" cy="582680"/>
            <a:chOff x="8753872" y="3468731"/>
            <a:chExt cx="1165361" cy="582680"/>
          </a:xfrm>
        </p:grpSpPr>
        <p:sp>
          <p:nvSpPr>
            <p:cNvPr id="55" name="Rectangle 54">
              <a:extLst>
                <a:ext uri="{FF2B5EF4-FFF2-40B4-BE49-F238E27FC236}">
                  <a16:creationId xmlns:a16="http://schemas.microsoft.com/office/drawing/2014/main" id="{A267176E-AE9E-4FD4-B6F1-4E95E85FF420}"/>
                </a:ext>
              </a:extLst>
            </p:cNvPr>
            <p:cNvSpPr/>
            <p:nvPr/>
          </p:nvSpPr>
          <p:spPr>
            <a:xfrm>
              <a:off x="8753872" y="3468731"/>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sp>
        <p:sp>
          <p:nvSpPr>
            <p:cNvPr id="56" name="TextBox 55">
              <a:extLst>
                <a:ext uri="{FF2B5EF4-FFF2-40B4-BE49-F238E27FC236}">
                  <a16:creationId xmlns:a16="http://schemas.microsoft.com/office/drawing/2014/main" id="{E34D5360-C6AA-459E-8DEE-EE9997E712D4}"/>
                </a:ext>
              </a:extLst>
            </p:cNvPr>
            <p:cNvSpPr txBox="1"/>
            <p:nvPr/>
          </p:nvSpPr>
          <p:spPr>
            <a:xfrm>
              <a:off x="8753872" y="3468731"/>
              <a:ext cx="1165361" cy="582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Gute</a:t>
              </a:r>
              <a:r>
                <a:rPr lang="en-US" sz="1200" kern="1200"/>
                <a:t> </a:t>
              </a:r>
              <a:br>
                <a:rPr lang="en-US" sz="1200" kern="1200">
                  <a:solidFill>
                    <a:srgbClr val="010000"/>
                  </a:solidFill>
                </a:rPr>
              </a:br>
              <a:r>
                <a:rPr lang="en-US" sz="1200" kern="1200" err="1"/>
                <a:t>Adaptivität</a:t>
              </a:r>
              <a:endParaRPr lang="de-CH" sz="1200" kern="1200"/>
            </a:p>
          </p:txBody>
        </p:sp>
      </p:grpSp>
      <p:sp>
        <p:nvSpPr>
          <p:cNvPr id="4" name="Title 3">
            <a:extLst>
              <a:ext uri="{FF2B5EF4-FFF2-40B4-BE49-F238E27FC236}">
                <a16:creationId xmlns:a16="http://schemas.microsoft.com/office/drawing/2014/main" id="{5C918F72-9F4B-4CC9-BE71-1CBFCC816DC2}"/>
              </a:ext>
            </a:extLst>
          </p:cNvPr>
          <p:cNvSpPr>
            <a:spLocks noGrp="1"/>
          </p:cNvSpPr>
          <p:nvPr>
            <p:ph type="title"/>
          </p:nvPr>
        </p:nvSpPr>
        <p:spPr/>
        <p:txBody>
          <a:bodyPr>
            <a:normAutofit fontScale="90000"/>
          </a:bodyPr>
          <a:lstStyle/>
          <a:p>
            <a:r>
              <a:rPr lang="de-DE">
                <a:solidFill>
                  <a:schemeClr val="accent1"/>
                </a:solidFill>
              </a:rPr>
              <a:t>Nicht-Funktionale</a:t>
            </a:r>
            <a:r>
              <a:rPr lang="de-DE"/>
              <a:t> Anforderungen verstehen</a:t>
            </a:r>
            <a:endParaRPr lang="de-CH"/>
          </a:p>
        </p:txBody>
      </p:sp>
    </p:spTree>
    <p:extLst>
      <p:ext uri="{BB962C8B-B14F-4D97-AF65-F5344CB8AC3E}">
        <p14:creationId xmlns:p14="http://schemas.microsoft.com/office/powerpoint/2010/main" val="1723786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10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1000"/>
                                        <p:tgtEl>
                                          <p:spTgt spid="29"/>
                                        </p:tgtEl>
                                      </p:cBhvr>
                                    </p:animEffect>
                                  </p:childTnLst>
                                </p:cTn>
                              </p:par>
                              <p:par>
                                <p:cTn id="14" presetID="10" presetClass="entr" presetSubtype="0" fill="hold"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1000"/>
                                        <p:tgtEl>
                                          <p:spTgt spid="32"/>
                                        </p:tgtEl>
                                      </p:cBhvr>
                                    </p:animEffect>
                                  </p:childTnLst>
                                </p:cTn>
                              </p:par>
                              <p:par>
                                <p:cTn id="17" presetID="10"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100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1000"/>
                                        <p:tgtEl>
                                          <p:spTgt spid="38"/>
                                        </p:tgtEl>
                                      </p:cBhvr>
                                    </p:animEffect>
                                  </p:childTnLst>
                                </p:cTn>
                              </p:par>
                              <p:par>
                                <p:cTn id="23" presetID="10"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1000"/>
                                        <p:tgtEl>
                                          <p:spTgt spid="39"/>
                                        </p:tgtEl>
                                      </p:cBhvr>
                                    </p:animEffect>
                                  </p:childTnLst>
                                </p:cTn>
                              </p:par>
                              <p:par>
                                <p:cTn id="26" presetID="10" presetClass="entr" presetSubtype="0" fill="hold"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1000"/>
                                        <p:tgtEl>
                                          <p:spTgt spid="40"/>
                                        </p:tgtEl>
                                      </p:cBhvr>
                                    </p:animEffect>
                                  </p:childTnLst>
                                </p:cTn>
                              </p:par>
                              <p:par>
                                <p:cTn id="29" presetID="10"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1000"/>
                                        <p:tgtEl>
                                          <p:spTgt spid="41"/>
                                        </p:tgtEl>
                                      </p:cBhvr>
                                    </p:animEffect>
                                  </p:childTnLst>
                                </p:cTn>
                              </p:par>
                              <p:par>
                                <p:cTn id="32" presetID="10" presetClass="entr" presetSubtype="0" fill="hold"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1000"/>
                                        <p:tgtEl>
                                          <p:spTgt spid="42"/>
                                        </p:tgtEl>
                                      </p:cBhvr>
                                    </p:animEffect>
                                  </p:childTnLst>
                                </p:cTn>
                              </p:par>
                              <p:par>
                                <p:cTn id="35" presetID="10" presetClass="entr" presetSubtype="0" fill="hold" nodeType="with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childTnLst>
                                </p:cTn>
                              </p:par>
                              <p:par>
                                <p:cTn id="38" presetID="10" presetClass="entr" presetSubtype="0" fill="hold" nodeType="with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4B3811-1FE8-451E-BA42-E1E063C1BCD9}"/>
              </a:ext>
            </a:extLst>
          </p:cNvPr>
          <p:cNvSpPr>
            <a:spLocks noGrp="1"/>
          </p:cNvSpPr>
          <p:nvPr>
            <p:ph type="title"/>
          </p:nvPr>
        </p:nvSpPr>
        <p:spPr/>
        <p:txBody>
          <a:bodyPr>
            <a:normAutofit fontScale="90000"/>
          </a:bodyPr>
          <a:lstStyle/>
          <a:p>
            <a:r>
              <a:rPr lang="en-US" err="1">
                <a:solidFill>
                  <a:schemeClr val="accent1"/>
                </a:solidFill>
              </a:rPr>
              <a:t>Agiles</a:t>
            </a:r>
            <a:r>
              <a:rPr lang="en-US"/>
              <a:t> </a:t>
            </a:r>
            <a:r>
              <a:rPr lang="en-US" err="1"/>
              <a:t>Vorgehen</a:t>
            </a:r>
            <a:endParaRPr lang="de-CH"/>
          </a:p>
        </p:txBody>
      </p:sp>
      <p:pic>
        <p:nvPicPr>
          <p:cNvPr id="4" name="Picture 3">
            <a:extLst>
              <a:ext uri="{FF2B5EF4-FFF2-40B4-BE49-F238E27FC236}">
                <a16:creationId xmlns:a16="http://schemas.microsoft.com/office/drawing/2014/main" id="{F895762D-ECB9-4221-9FC5-42F053225775}"/>
              </a:ext>
            </a:extLst>
          </p:cNvPr>
          <p:cNvPicPr>
            <a:picLocks noChangeAspect="1"/>
          </p:cNvPicPr>
          <p:nvPr/>
        </p:nvPicPr>
        <p:blipFill>
          <a:blip r:embed="rId3"/>
          <a:stretch>
            <a:fillRect/>
          </a:stretch>
        </p:blipFill>
        <p:spPr>
          <a:xfrm>
            <a:off x="1233987" y="1133396"/>
            <a:ext cx="9724025" cy="5509127"/>
          </a:xfrm>
          <a:prstGeom prst="rect">
            <a:avLst/>
          </a:prstGeom>
        </p:spPr>
      </p:pic>
      <p:sp>
        <p:nvSpPr>
          <p:cNvPr id="5" name="Rectangle 4">
            <a:extLst>
              <a:ext uri="{FF2B5EF4-FFF2-40B4-BE49-F238E27FC236}">
                <a16:creationId xmlns:a16="http://schemas.microsoft.com/office/drawing/2014/main" id="{602649C3-178D-4198-83FC-F7C1C8BB89AB}"/>
              </a:ext>
            </a:extLst>
          </p:cNvPr>
          <p:cNvSpPr/>
          <p:nvPr/>
        </p:nvSpPr>
        <p:spPr>
          <a:xfrm>
            <a:off x="5029200" y="4240806"/>
            <a:ext cx="3419475" cy="247103"/>
          </a:xfrm>
          <a:prstGeom prst="rect">
            <a:avLst/>
          </a:prstGeom>
          <a:noFill/>
          <a:effectLst/>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noAutofit/>
          </a:bodyPr>
          <a:lstStyle/>
          <a:p>
            <a:pPr algn="ctr"/>
            <a:endParaRPr lang="de-CH" sz="1600" err="1">
              <a:solidFill>
                <a:schemeClr val="bg1"/>
              </a:solidFill>
            </a:endParaRPr>
          </a:p>
        </p:txBody>
      </p:sp>
      <p:sp>
        <p:nvSpPr>
          <p:cNvPr id="6" name="Rectangle 5">
            <a:extLst>
              <a:ext uri="{FF2B5EF4-FFF2-40B4-BE49-F238E27FC236}">
                <a16:creationId xmlns:a16="http://schemas.microsoft.com/office/drawing/2014/main" id="{C94713F3-8E68-4D63-AF42-CB9C7664BEE8}"/>
              </a:ext>
            </a:extLst>
          </p:cNvPr>
          <p:cNvSpPr/>
          <p:nvPr/>
        </p:nvSpPr>
        <p:spPr>
          <a:xfrm>
            <a:off x="9686925" y="2188009"/>
            <a:ext cx="876300" cy="224639"/>
          </a:xfrm>
          <a:prstGeom prst="rect">
            <a:avLst/>
          </a:prstGeom>
          <a:noFill/>
          <a:effectLst/>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noAutofit/>
          </a:bodyPr>
          <a:lstStyle/>
          <a:p>
            <a:pPr algn="ctr"/>
            <a:endParaRPr lang="de-CH" sz="1600" err="1">
              <a:solidFill>
                <a:schemeClr val="bg1"/>
              </a:solidFill>
            </a:endParaRPr>
          </a:p>
        </p:txBody>
      </p:sp>
    </p:spTree>
    <p:extLst>
      <p:ext uri="{BB962C8B-B14F-4D97-AF65-F5344CB8AC3E}">
        <p14:creationId xmlns:p14="http://schemas.microsoft.com/office/powerpoint/2010/main" val="1763957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6A4BC1-89CB-4E66-94F1-B4325BC25EE2}"/>
              </a:ext>
            </a:extLst>
          </p:cNvPr>
          <p:cNvGrpSpPr/>
          <p:nvPr/>
        </p:nvGrpSpPr>
        <p:grpSpPr>
          <a:xfrm>
            <a:off x="2202088" y="1109454"/>
            <a:ext cx="7572375" cy="5162983"/>
            <a:chOff x="2826710" y="272989"/>
            <a:chExt cx="7572375" cy="5679281"/>
          </a:xfrm>
        </p:grpSpPr>
        <p:pic>
          <p:nvPicPr>
            <p:cNvPr id="6" name="Picture 5" descr="A picture containing text, whiteboard&#10;&#10;Description generated with very high confidence">
              <a:extLst>
                <a:ext uri="{FF2B5EF4-FFF2-40B4-BE49-F238E27FC236}">
                  <a16:creationId xmlns:a16="http://schemas.microsoft.com/office/drawing/2014/main" id="{3D6EF361-2B04-4C71-A3DF-4434163D2018}"/>
                </a:ext>
              </a:extLst>
            </p:cNvPr>
            <p:cNvPicPr>
              <a:picLocks noChangeAspect="1"/>
            </p:cNvPicPr>
            <p:nvPr/>
          </p:nvPicPr>
          <p:blipFill>
            <a:blip r:embed="rId3"/>
            <a:stretch>
              <a:fillRect/>
            </a:stretch>
          </p:blipFill>
          <p:spPr>
            <a:xfrm>
              <a:off x="2826710" y="272989"/>
              <a:ext cx="7572375" cy="5679281"/>
            </a:xfrm>
            <a:prstGeom prst="rect">
              <a:avLst/>
            </a:prstGeom>
          </p:spPr>
        </p:pic>
        <p:sp>
          <p:nvSpPr>
            <p:cNvPr id="2" name="Rectangle 1">
              <a:extLst>
                <a:ext uri="{FF2B5EF4-FFF2-40B4-BE49-F238E27FC236}">
                  <a16:creationId xmlns:a16="http://schemas.microsoft.com/office/drawing/2014/main" id="{AB07511A-4BDF-4F97-A399-CCE69BE53C79}"/>
                </a:ext>
              </a:extLst>
            </p:cNvPr>
            <p:cNvSpPr/>
            <p:nvPr/>
          </p:nvSpPr>
          <p:spPr>
            <a:xfrm>
              <a:off x="8945774" y="603095"/>
              <a:ext cx="1453311" cy="753564"/>
            </a:xfrm>
            <a:prstGeom prst="rect">
              <a:avLst/>
            </a:prstGeom>
            <a:solidFill>
              <a:srgbClr val="D8CDC3"/>
            </a:solidFill>
          </p:spPr>
          <p:txBody>
            <a:bodyPr wrap="square" lIns="72000" tIns="72000" rIns="72000" bIns="72000" rtlCol="0" anchor="ctr">
              <a:noAutofit/>
            </a:bodyPr>
            <a:lstStyle/>
            <a:p>
              <a:pPr algn="ctr"/>
              <a:endParaRPr lang="de-CH" sz="1600" err="1">
                <a:solidFill>
                  <a:schemeClr val="bg1"/>
                </a:solidFill>
              </a:endParaRPr>
            </a:p>
          </p:txBody>
        </p:sp>
      </p:grpSp>
      <p:pic>
        <p:nvPicPr>
          <p:cNvPr id="8" name="Picture 7" descr="A picture containing text, whiteboard&#10;&#10;Description generated with very high confidence">
            <a:extLst>
              <a:ext uri="{FF2B5EF4-FFF2-40B4-BE49-F238E27FC236}">
                <a16:creationId xmlns:a16="http://schemas.microsoft.com/office/drawing/2014/main" id="{F72C43C3-34D4-40DB-BEC7-AB3B9EECA4A0}"/>
              </a:ext>
            </a:extLst>
          </p:cNvPr>
          <p:cNvPicPr>
            <a:picLocks noChangeAspect="1"/>
          </p:cNvPicPr>
          <p:nvPr/>
        </p:nvPicPr>
        <p:blipFill>
          <a:blip r:embed="rId4"/>
          <a:stretch>
            <a:fillRect/>
          </a:stretch>
        </p:blipFill>
        <p:spPr>
          <a:xfrm>
            <a:off x="2173627" y="1124046"/>
            <a:ext cx="7572375" cy="5679281"/>
          </a:xfrm>
          <a:prstGeom prst="rect">
            <a:avLst/>
          </a:prstGeom>
        </p:spPr>
      </p:pic>
      <p:pic>
        <p:nvPicPr>
          <p:cNvPr id="10" name="Picture 9" descr="A picture containing text, whiteboard&#10;&#10;Description generated with very high confidence">
            <a:extLst>
              <a:ext uri="{FF2B5EF4-FFF2-40B4-BE49-F238E27FC236}">
                <a16:creationId xmlns:a16="http://schemas.microsoft.com/office/drawing/2014/main" id="{8D64B487-3A4A-42DD-8250-FC4D51D143A3}"/>
              </a:ext>
            </a:extLst>
          </p:cNvPr>
          <p:cNvPicPr>
            <a:picLocks noChangeAspect="1"/>
          </p:cNvPicPr>
          <p:nvPr/>
        </p:nvPicPr>
        <p:blipFill>
          <a:blip r:embed="rId5"/>
          <a:stretch>
            <a:fillRect/>
          </a:stretch>
        </p:blipFill>
        <p:spPr>
          <a:xfrm>
            <a:off x="2175646" y="1120451"/>
            <a:ext cx="7572374" cy="5679281"/>
          </a:xfrm>
          <a:prstGeom prst="rect">
            <a:avLst/>
          </a:prstGeom>
        </p:spPr>
      </p:pic>
      <p:sp>
        <p:nvSpPr>
          <p:cNvPr id="4" name="Title 3">
            <a:extLst>
              <a:ext uri="{FF2B5EF4-FFF2-40B4-BE49-F238E27FC236}">
                <a16:creationId xmlns:a16="http://schemas.microsoft.com/office/drawing/2014/main" id="{0C5C7A4F-3F37-4E78-9608-50F357A73ADA}"/>
              </a:ext>
            </a:extLst>
          </p:cNvPr>
          <p:cNvSpPr>
            <a:spLocks noGrp="1"/>
          </p:cNvSpPr>
          <p:nvPr>
            <p:ph type="title"/>
          </p:nvPr>
        </p:nvSpPr>
        <p:spPr/>
        <p:txBody>
          <a:bodyPr>
            <a:noAutofit/>
          </a:bodyPr>
          <a:lstStyle/>
          <a:p>
            <a:r>
              <a:rPr lang="en-US" sz="3100">
                <a:solidFill>
                  <a:schemeClr val="accent1"/>
                </a:solidFill>
              </a:rPr>
              <a:t>Agile</a:t>
            </a:r>
            <a:r>
              <a:rPr lang="en-US" sz="3100"/>
              <a:t> </a:t>
            </a:r>
            <a:r>
              <a:rPr lang="en-US" sz="3100" err="1"/>
              <a:t>Architektur</a:t>
            </a:r>
            <a:endParaRPr lang="de-CH" sz="3100"/>
          </a:p>
        </p:txBody>
      </p:sp>
      <p:pic>
        <p:nvPicPr>
          <p:cNvPr id="11" name="Picture 10">
            <a:extLst>
              <a:ext uri="{FF2B5EF4-FFF2-40B4-BE49-F238E27FC236}">
                <a16:creationId xmlns:a16="http://schemas.microsoft.com/office/drawing/2014/main" id="{8098177C-325F-490A-9947-CBDB65C88E6C}"/>
              </a:ext>
            </a:extLst>
          </p:cNvPr>
          <p:cNvPicPr>
            <a:picLocks noChangeAspect="1"/>
          </p:cNvPicPr>
          <p:nvPr/>
        </p:nvPicPr>
        <p:blipFill>
          <a:blip r:embed="rId6"/>
          <a:stretch>
            <a:fillRect/>
          </a:stretch>
        </p:blipFill>
        <p:spPr>
          <a:xfrm>
            <a:off x="9922798" y="5613351"/>
            <a:ext cx="956578" cy="961892"/>
          </a:xfrm>
          <a:prstGeom prst="rect">
            <a:avLst/>
          </a:prstGeom>
        </p:spPr>
      </p:pic>
      <p:pic>
        <p:nvPicPr>
          <p:cNvPr id="12" name="Picture 11">
            <a:extLst>
              <a:ext uri="{FF2B5EF4-FFF2-40B4-BE49-F238E27FC236}">
                <a16:creationId xmlns:a16="http://schemas.microsoft.com/office/drawing/2014/main" id="{EB287835-662D-4CE1-BCA8-2D662623BBB5}"/>
              </a:ext>
            </a:extLst>
          </p:cNvPr>
          <p:cNvPicPr>
            <a:picLocks noChangeAspect="1"/>
          </p:cNvPicPr>
          <p:nvPr/>
        </p:nvPicPr>
        <p:blipFill>
          <a:blip r:embed="rId7"/>
          <a:stretch>
            <a:fillRect/>
          </a:stretch>
        </p:blipFill>
        <p:spPr>
          <a:xfrm>
            <a:off x="9959518" y="4371347"/>
            <a:ext cx="960283" cy="936798"/>
          </a:xfrm>
          <a:prstGeom prst="rect">
            <a:avLst/>
          </a:prstGeom>
        </p:spPr>
      </p:pic>
      <p:pic>
        <p:nvPicPr>
          <p:cNvPr id="13" name="Picture 12">
            <a:extLst>
              <a:ext uri="{FF2B5EF4-FFF2-40B4-BE49-F238E27FC236}">
                <a16:creationId xmlns:a16="http://schemas.microsoft.com/office/drawing/2014/main" id="{34B9D183-1508-4CEA-87B1-1C26C0A685F5}"/>
              </a:ext>
            </a:extLst>
          </p:cNvPr>
          <p:cNvPicPr>
            <a:picLocks noChangeAspect="1"/>
          </p:cNvPicPr>
          <p:nvPr/>
        </p:nvPicPr>
        <p:blipFill>
          <a:blip r:embed="rId8"/>
          <a:stretch>
            <a:fillRect/>
          </a:stretch>
        </p:blipFill>
        <p:spPr>
          <a:xfrm>
            <a:off x="990462" y="3038963"/>
            <a:ext cx="960283" cy="941967"/>
          </a:xfrm>
          <a:prstGeom prst="rect">
            <a:avLst/>
          </a:prstGeom>
        </p:spPr>
      </p:pic>
      <p:pic>
        <p:nvPicPr>
          <p:cNvPr id="14" name="Picture 13">
            <a:extLst>
              <a:ext uri="{FF2B5EF4-FFF2-40B4-BE49-F238E27FC236}">
                <a16:creationId xmlns:a16="http://schemas.microsoft.com/office/drawing/2014/main" id="{2046E44B-12ED-4C84-99D1-CEB3FFF971EF}"/>
              </a:ext>
            </a:extLst>
          </p:cNvPr>
          <p:cNvPicPr>
            <a:picLocks noChangeAspect="1"/>
          </p:cNvPicPr>
          <p:nvPr/>
        </p:nvPicPr>
        <p:blipFill>
          <a:blip r:embed="rId9"/>
          <a:stretch>
            <a:fillRect/>
          </a:stretch>
        </p:blipFill>
        <p:spPr>
          <a:xfrm>
            <a:off x="9959519" y="1654042"/>
            <a:ext cx="960283" cy="944367"/>
          </a:xfrm>
          <a:prstGeom prst="rect">
            <a:avLst/>
          </a:prstGeom>
        </p:spPr>
      </p:pic>
      <p:pic>
        <p:nvPicPr>
          <p:cNvPr id="15" name="Picture 14">
            <a:extLst>
              <a:ext uri="{FF2B5EF4-FFF2-40B4-BE49-F238E27FC236}">
                <a16:creationId xmlns:a16="http://schemas.microsoft.com/office/drawing/2014/main" id="{1CCF9F48-ECFD-48A2-B404-B0D31D6D87AA}"/>
              </a:ext>
            </a:extLst>
          </p:cNvPr>
          <p:cNvPicPr>
            <a:picLocks noChangeAspect="1"/>
          </p:cNvPicPr>
          <p:nvPr/>
        </p:nvPicPr>
        <p:blipFill>
          <a:blip r:embed="rId10"/>
          <a:stretch>
            <a:fillRect/>
          </a:stretch>
        </p:blipFill>
        <p:spPr>
          <a:xfrm>
            <a:off x="5511344" y="130719"/>
            <a:ext cx="960283" cy="944752"/>
          </a:xfrm>
          <a:prstGeom prst="rect">
            <a:avLst/>
          </a:prstGeom>
        </p:spPr>
      </p:pic>
      <p:pic>
        <p:nvPicPr>
          <p:cNvPr id="16" name="Picture 15">
            <a:extLst>
              <a:ext uri="{FF2B5EF4-FFF2-40B4-BE49-F238E27FC236}">
                <a16:creationId xmlns:a16="http://schemas.microsoft.com/office/drawing/2014/main" id="{BD530D81-1AD9-49E7-A75C-E0242AAC3836}"/>
              </a:ext>
            </a:extLst>
          </p:cNvPr>
          <p:cNvPicPr>
            <a:picLocks noChangeAspect="1"/>
          </p:cNvPicPr>
          <p:nvPr/>
        </p:nvPicPr>
        <p:blipFill>
          <a:blip r:embed="rId11"/>
          <a:stretch>
            <a:fillRect/>
          </a:stretch>
        </p:blipFill>
        <p:spPr>
          <a:xfrm>
            <a:off x="975360" y="4371347"/>
            <a:ext cx="990485" cy="948560"/>
          </a:xfrm>
          <a:prstGeom prst="rect">
            <a:avLst/>
          </a:prstGeom>
        </p:spPr>
      </p:pic>
      <p:pic>
        <p:nvPicPr>
          <p:cNvPr id="17" name="Picture 16">
            <a:extLst>
              <a:ext uri="{FF2B5EF4-FFF2-40B4-BE49-F238E27FC236}">
                <a16:creationId xmlns:a16="http://schemas.microsoft.com/office/drawing/2014/main" id="{EA49890A-2E20-450B-A850-34B1830146C5}"/>
              </a:ext>
            </a:extLst>
          </p:cNvPr>
          <p:cNvPicPr>
            <a:picLocks noChangeAspect="1"/>
          </p:cNvPicPr>
          <p:nvPr/>
        </p:nvPicPr>
        <p:blipFill>
          <a:blip r:embed="rId12"/>
          <a:stretch>
            <a:fillRect/>
          </a:stretch>
        </p:blipFill>
        <p:spPr>
          <a:xfrm>
            <a:off x="9959519" y="3085729"/>
            <a:ext cx="883137" cy="946596"/>
          </a:xfrm>
          <a:prstGeom prst="rect">
            <a:avLst/>
          </a:prstGeom>
        </p:spPr>
      </p:pic>
      <p:pic>
        <p:nvPicPr>
          <p:cNvPr id="18" name="Picture 17">
            <a:extLst>
              <a:ext uri="{FF2B5EF4-FFF2-40B4-BE49-F238E27FC236}">
                <a16:creationId xmlns:a16="http://schemas.microsoft.com/office/drawing/2014/main" id="{AEF5650A-2529-478E-860E-89AA01692624}"/>
              </a:ext>
            </a:extLst>
          </p:cNvPr>
          <p:cNvPicPr>
            <a:picLocks noChangeAspect="1"/>
          </p:cNvPicPr>
          <p:nvPr/>
        </p:nvPicPr>
        <p:blipFill>
          <a:blip r:embed="rId13"/>
          <a:stretch>
            <a:fillRect/>
          </a:stretch>
        </p:blipFill>
        <p:spPr>
          <a:xfrm>
            <a:off x="1028989" y="1654758"/>
            <a:ext cx="956578" cy="943651"/>
          </a:xfrm>
          <a:prstGeom prst="rect">
            <a:avLst/>
          </a:prstGeom>
        </p:spPr>
      </p:pic>
      <p:sp>
        <p:nvSpPr>
          <p:cNvPr id="19" name="Freeform: Shape 18">
            <a:extLst>
              <a:ext uri="{FF2B5EF4-FFF2-40B4-BE49-F238E27FC236}">
                <a16:creationId xmlns:a16="http://schemas.microsoft.com/office/drawing/2014/main" id="{C95A5CAB-6B15-4DA5-B8C7-FC8F7924D1A1}"/>
              </a:ext>
            </a:extLst>
          </p:cNvPr>
          <p:cNvSpPr/>
          <p:nvPr/>
        </p:nvSpPr>
        <p:spPr>
          <a:xfrm>
            <a:off x="1733550" y="1209675"/>
            <a:ext cx="4210892" cy="866775"/>
          </a:xfrm>
          <a:custGeom>
            <a:avLst/>
            <a:gdLst>
              <a:gd name="connsiteX0" fmla="*/ 0 w 4210892"/>
              <a:gd name="connsiteY0" fmla="*/ 485775 h 866775"/>
              <a:gd name="connsiteX1" fmla="*/ 76200 w 4210892"/>
              <a:gd name="connsiteY1" fmla="*/ 447675 h 866775"/>
              <a:gd name="connsiteX2" fmla="*/ 85725 w 4210892"/>
              <a:gd name="connsiteY2" fmla="*/ 419100 h 866775"/>
              <a:gd name="connsiteX3" fmla="*/ 114300 w 4210892"/>
              <a:gd name="connsiteY3" fmla="*/ 390525 h 866775"/>
              <a:gd name="connsiteX4" fmla="*/ 161925 w 4210892"/>
              <a:gd name="connsiteY4" fmla="*/ 352425 h 866775"/>
              <a:gd name="connsiteX5" fmla="*/ 180975 w 4210892"/>
              <a:gd name="connsiteY5" fmla="*/ 323850 h 866775"/>
              <a:gd name="connsiteX6" fmla="*/ 238125 w 4210892"/>
              <a:gd name="connsiteY6" fmla="*/ 304800 h 866775"/>
              <a:gd name="connsiteX7" fmla="*/ 266700 w 4210892"/>
              <a:gd name="connsiteY7" fmla="*/ 295275 h 866775"/>
              <a:gd name="connsiteX8" fmla="*/ 295275 w 4210892"/>
              <a:gd name="connsiteY8" fmla="*/ 276225 h 866775"/>
              <a:gd name="connsiteX9" fmla="*/ 371475 w 4210892"/>
              <a:gd name="connsiteY9" fmla="*/ 257175 h 866775"/>
              <a:gd name="connsiteX10" fmla="*/ 409575 w 4210892"/>
              <a:gd name="connsiteY10" fmla="*/ 247650 h 866775"/>
              <a:gd name="connsiteX11" fmla="*/ 733425 w 4210892"/>
              <a:gd name="connsiteY11" fmla="*/ 257175 h 866775"/>
              <a:gd name="connsiteX12" fmla="*/ 762000 w 4210892"/>
              <a:gd name="connsiteY12" fmla="*/ 266700 h 866775"/>
              <a:gd name="connsiteX13" fmla="*/ 809625 w 4210892"/>
              <a:gd name="connsiteY13" fmla="*/ 276225 h 866775"/>
              <a:gd name="connsiteX14" fmla="*/ 838200 w 4210892"/>
              <a:gd name="connsiteY14" fmla="*/ 285750 h 866775"/>
              <a:gd name="connsiteX15" fmla="*/ 895350 w 4210892"/>
              <a:gd name="connsiteY15" fmla="*/ 295275 h 866775"/>
              <a:gd name="connsiteX16" fmla="*/ 1000125 w 4210892"/>
              <a:gd name="connsiteY16" fmla="*/ 333375 h 866775"/>
              <a:gd name="connsiteX17" fmla="*/ 1028700 w 4210892"/>
              <a:gd name="connsiteY17" fmla="*/ 352425 h 866775"/>
              <a:gd name="connsiteX18" fmla="*/ 1047750 w 4210892"/>
              <a:gd name="connsiteY18" fmla="*/ 390525 h 866775"/>
              <a:gd name="connsiteX19" fmla="*/ 1076325 w 4210892"/>
              <a:gd name="connsiteY19" fmla="*/ 419100 h 866775"/>
              <a:gd name="connsiteX20" fmla="*/ 1095375 w 4210892"/>
              <a:gd name="connsiteY20" fmla="*/ 485775 h 866775"/>
              <a:gd name="connsiteX21" fmla="*/ 1123950 w 4210892"/>
              <a:gd name="connsiteY21" fmla="*/ 542925 h 866775"/>
              <a:gd name="connsiteX22" fmla="*/ 1123950 w 4210892"/>
              <a:gd name="connsiteY22" fmla="*/ 704850 h 866775"/>
              <a:gd name="connsiteX23" fmla="*/ 1104900 w 4210892"/>
              <a:gd name="connsiteY23" fmla="*/ 733425 h 866775"/>
              <a:gd name="connsiteX24" fmla="*/ 1047750 w 4210892"/>
              <a:gd name="connsiteY24" fmla="*/ 752475 h 866775"/>
              <a:gd name="connsiteX25" fmla="*/ 990600 w 4210892"/>
              <a:gd name="connsiteY25" fmla="*/ 723900 h 866775"/>
              <a:gd name="connsiteX26" fmla="*/ 962025 w 4210892"/>
              <a:gd name="connsiteY26" fmla="*/ 714375 h 866775"/>
              <a:gd name="connsiteX27" fmla="*/ 933450 w 4210892"/>
              <a:gd name="connsiteY27" fmla="*/ 685800 h 866775"/>
              <a:gd name="connsiteX28" fmla="*/ 933450 w 4210892"/>
              <a:gd name="connsiteY28" fmla="*/ 533400 h 866775"/>
              <a:gd name="connsiteX29" fmla="*/ 952500 w 4210892"/>
              <a:gd name="connsiteY29" fmla="*/ 476250 h 866775"/>
              <a:gd name="connsiteX30" fmla="*/ 1009650 w 4210892"/>
              <a:gd name="connsiteY30" fmla="*/ 409575 h 866775"/>
              <a:gd name="connsiteX31" fmla="*/ 1057275 w 4210892"/>
              <a:gd name="connsiteY31" fmla="*/ 371475 h 866775"/>
              <a:gd name="connsiteX32" fmla="*/ 1085850 w 4210892"/>
              <a:gd name="connsiteY32" fmla="*/ 342900 h 866775"/>
              <a:gd name="connsiteX33" fmla="*/ 1114425 w 4210892"/>
              <a:gd name="connsiteY33" fmla="*/ 333375 h 866775"/>
              <a:gd name="connsiteX34" fmla="*/ 1143000 w 4210892"/>
              <a:gd name="connsiteY34" fmla="*/ 314325 h 866775"/>
              <a:gd name="connsiteX35" fmla="*/ 1428750 w 4210892"/>
              <a:gd name="connsiteY35" fmla="*/ 323850 h 866775"/>
              <a:gd name="connsiteX36" fmla="*/ 1514475 w 4210892"/>
              <a:gd name="connsiteY36" fmla="*/ 361950 h 866775"/>
              <a:gd name="connsiteX37" fmla="*/ 1552575 w 4210892"/>
              <a:gd name="connsiteY37" fmla="*/ 371475 h 866775"/>
              <a:gd name="connsiteX38" fmla="*/ 1609725 w 4210892"/>
              <a:gd name="connsiteY38" fmla="*/ 390525 h 866775"/>
              <a:gd name="connsiteX39" fmla="*/ 1638300 w 4210892"/>
              <a:gd name="connsiteY39" fmla="*/ 400050 h 866775"/>
              <a:gd name="connsiteX40" fmla="*/ 1704975 w 4210892"/>
              <a:gd name="connsiteY40" fmla="*/ 438150 h 866775"/>
              <a:gd name="connsiteX41" fmla="*/ 1762125 w 4210892"/>
              <a:gd name="connsiteY41" fmla="*/ 457200 h 866775"/>
              <a:gd name="connsiteX42" fmla="*/ 1819275 w 4210892"/>
              <a:gd name="connsiteY42" fmla="*/ 485775 h 866775"/>
              <a:gd name="connsiteX43" fmla="*/ 1885950 w 4210892"/>
              <a:gd name="connsiteY43" fmla="*/ 514350 h 866775"/>
              <a:gd name="connsiteX44" fmla="*/ 1933575 w 4210892"/>
              <a:gd name="connsiteY44" fmla="*/ 533400 h 866775"/>
              <a:gd name="connsiteX45" fmla="*/ 1990725 w 4210892"/>
              <a:gd name="connsiteY45" fmla="*/ 542925 h 866775"/>
              <a:gd name="connsiteX46" fmla="*/ 2133600 w 4210892"/>
              <a:gd name="connsiteY46" fmla="*/ 600075 h 866775"/>
              <a:gd name="connsiteX47" fmla="*/ 2209800 w 4210892"/>
              <a:gd name="connsiteY47" fmla="*/ 638175 h 866775"/>
              <a:gd name="connsiteX48" fmla="*/ 2238375 w 4210892"/>
              <a:gd name="connsiteY48" fmla="*/ 657225 h 866775"/>
              <a:gd name="connsiteX49" fmla="*/ 2276475 w 4210892"/>
              <a:gd name="connsiteY49" fmla="*/ 666750 h 866775"/>
              <a:gd name="connsiteX50" fmla="*/ 2362200 w 4210892"/>
              <a:gd name="connsiteY50" fmla="*/ 695325 h 866775"/>
              <a:gd name="connsiteX51" fmla="*/ 2400300 w 4210892"/>
              <a:gd name="connsiteY51" fmla="*/ 714375 h 866775"/>
              <a:gd name="connsiteX52" fmla="*/ 2533650 w 4210892"/>
              <a:gd name="connsiteY52" fmla="*/ 752475 h 866775"/>
              <a:gd name="connsiteX53" fmla="*/ 2571750 w 4210892"/>
              <a:gd name="connsiteY53" fmla="*/ 762000 h 866775"/>
              <a:gd name="connsiteX54" fmla="*/ 2667000 w 4210892"/>
              <a:gd name="connsiteY54" fmla="*/ 781050 h 866775"/>
              <a:gd name="connsiteX55" fmla="*/ 2781300 w 4210892"/>
              <a:gd name="connsiteY55" fmla="*/ 809625 h 866775"/>
              <a:gd name="connsiteX56" fmla="*/ 2819400 w 4210892"/>
              <a:gd name="connsiteY56" fmla="*/ 828675 h 866775"/>
              <a:gd name="connsiteX57" fmla="*/ 2943225 w 4210892"/>
              <a:gd name="connsiteY57" fmla="*/ 838200 h 866775"/>
              <a:gd name="connsiteX58" fmla="*/ 3248025 w 4210892"/>
              <a:gd name="connsiteY58" fmla="*/ 847725 h 866775"/>
              <a:gd name="connsiteX59" fmla="*/ 3438525 w 4210892"/>
              <a:gd name="connsiteY59" fmla="*/ 866775 h 866775"/>
              <a:gd name="connsiteX60" fmla="*/ 3724275 w 4210892"/>
              <a:gd name="connsiteY60" fmla="*/ 857250 h 866775"/>
              <a:gd name="connsiteX61" fmla="*/ 3790950 w 4210892"/>
              <a:gd name="connsiteY61" fmla="*/ 838200 h 866775"/>
              <a:gd name="connsiteX62" fmla="*/ 3829050 w 4210892"/>
              <a:gd name="connsiteY62" fmla="*/ 819150 h 866775"/>
              <a:gd name="connsiteX63" fmla="*/ 3886200 w 4210892"/>
              <a:gd name="connsiteY63" fmla="*/ 800100 h 866775"/>
              <a:gd name="connsiteX64" fmla="*/ 3952875 w 4210892"/>
              <a:gd name="connsiteY64" fmla="*/ 762000 h 866775"/>
              <a:gd name="connsiteX65" fmla="*/ 4019550 w 4210892"/>
              <a:gd name="connsiteY65" fmla="*/ 676275 h 866775"/>
              <a:gd name="connsiteX66" fmla="*/ 4029075 w 4210892"/>
              <a:gd name="connsiteY66" fmla="*/ 647700 h 866775"/>
              <a:gd name="connsiteX67" fmla="*/ 4057650 w 4210892"/>
              <a:gd name="connsiteY67" fmla="*/ 590550 h 866775"/>
              <a:gd name="connsiteX68" fmla="*/ 4086225 w 4210892"/>
              <a:gd name="connsiteY68" fmla="*/ 495300 h 866775"/>
              <a:gd name="connsiteX69" fmla="*/ 4124325 w 4210892"/>
              <a:gd name="connsiteY69" fmla="*/ 438150 h 866775"/>
              <a:gd name="connsiteX70" fmla="*/ 4152900 w 4210892"/>
              <a:gd name="connsiteY70" fmla="*/ 381000 h 866775"/>
              <a:gd name="connsiteX71" fmla="*/ 4171950 w 4210892"/>
              <a:gd name="connsiteY71" fmla="*/ 323850 h 866775"/>
              <a:gd name="connsiteX72" fmla="*/ 4181475 w 4210892"/>
              <a:gd name="connsiteY72" fmla="*/ 295275 h 866775"/>
              <a:gd name="connsiteX73" fmla="*/ 4191000 w 4210892"/>
              <a:gd name="connsiteY73" fmla="*/ 142875 h 866775"/>
              <a:gd name="connsiteX74" fmla="*/ 4200525 w 4210892"/>
              <a:gd name="connsiteY74" fmla="*/ 95250 h 866775"/>
              <a:gd name="connsiteX75" fmla="*/ 4210050 w 4210892"/>
              <a:gd name="connsiteY75" fmla="*/ 57150 h 866775"/>
              <a:gd name="connsiteX76" fmla="*/ 4210050 w 4210892"/>
              <a:gd name="connsiteY76" fmla="*/ 0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210892" h="866775">
                <a:moveTo>
                  <a:pt x="0" y="485775"/>
                </a:moveTo>
                <a:cubicBezTo>
                  <a:pt x="14382" y="480022"/>
                  <a:pt x="62772" y="464460"/>
                  <a:pt x="76200" y="447675"/>
                </a:cubicBezTo>
                <a:cubicBezTo>
                  <a:pt x="82472" y="439835"/>
                  <a:pt x="80156" y="427454"/>
                  <a:pt x="85725" y="419100"/>
                </a:cubicBezTo>
                <a:cubicBezTo>
                  <a:pt x="93197" y="407892"/>
                  <a:pt x="105676" y="400873"/>
                  <a:pt x="114300" y="390525"/>
                </a:cubicBezTo>
                <a:cubicBezTo>
                  <a:pt x="147441" y="350755"/>
                  <a:pt x="115015" y="368062"/>
                  <a:pt x="161925" y="352425"/>
                </a:cubicBezTo>
                <a:cubicBezTo>
                  <a:pt x="168275" y="342900"/>
                  <a:pt x="171267" y="329917"/>
                  <a:pt x="180975" y="323850"/>
                </a:cubicBezTo>
                <a:cubicBezTo>
                  <a:pt x="198003" y="313207"/>
                  <a:pt x="219075" y="311150"/>
                  <a:pt x="238125" y="304800"/>
                </a:cubicBezTo>
                <a:cubicBezTo>
                  <a:pt x="247650" y="301625"/>
                  <a:pt x="258346" y="300844"/>
                  <a:pt x="266700" y="295275"/>
                </a:cubicBezTo>
                <a:cubicBezTo>
                  <a:pt x="276225" y="288925"/>
                  <a:pt x="285036" y="281345"/>
                  <a:pt x="295275" y="276225"/>
                </a:cubicBezTo>
                <a:cubicBezTo>
                  <a:pt x="315700" y="266013"/>
                  <a:pt x="351912" y="261522"/>
                  <a:pt x="371475" y="257175"/>
                </a:cubicBezTo>
                <a:cubicBezTo>
                  <a:pt x="384254" y="254335"/>
                  <a:pt x="396875" y="250825"/>
                  <a:pt x="409575" y="247650"/>
                </a:cubicBezTo>
                <a:cubicBezTo>
                  <a:pt x="517525" y="250825"/>
                  <a:pt x="625586" y="251346"/>
                  <a:pt x="733425" y="257175"/>
                </a:cubicBezTo>
                <a:cubicBezTo>
                  <a:pt x="743451" y="257717"/>
                  <a:pt x="752260" y="264265"/>
                  <a:pt x="762000" y="266700"/>
                </a:cubicBezTo>
                <a:cubicBezTo>
                  <a:pt x="777706" y="270627"/>
                  <a:pt x="793919" y="272298"/>
                  <a:pt x="809625" y="276225"/>
                </a:cubicBezTo>
                <a:cubicBezTo>
                  <a:pt x="819365" y="278660"/>
                  <a:pt x="828399" y="283572"/>
                  <a:pt x="838200" y="285750"/>
                </a:cubicBezTo>
                <a:cubicBezTo>
                  <a:pt x="857053" y="289940"/>
                  <a:pt x="876614" y="290591"/>
                  <a:pt x="895350" y="295275"/>
                </a:cubicBezTo>
                <a:cubicBezTo>
                  <a:pt x="913132" y="299720"/>
                  <a:pt x="981188" y="323906"/>
                  <a:pt x="1000125" y="333375"/>
                </a:cubicBezTo>
                <a:cubicBezTo>
                  <a:pt x="1010364" y="338495"/>
                  <a:pt x="1019175" y="346075"/>
                  <a:pt x="1028700" y="352425"/>
                </a:cubicBezTo>
                <a:cubicBezTo>
                  <a:pt x="1035050" y="365125"/>
                  <a:pt x="1039497" y="378971"/>
                  <a:pt x="1047750" y="390525"/>
                </a:cubicBezTo>
                <a:cubicBezTo>
                  <a:pt x="1055580" y="401486"/>
                  <a:pt x="1068853" y="407892"/>
                  <a:pt x="1076325" y="419100"/>
                </a:cubicBezTo>
                <a:cubicBezTo>
                  <a:pt x="1082034" y="427664"/>
                  <a:pt x="1093787" y="480218"/>
                  <a:pt x="1095375" y="485775"/>
                </a:cubicBezTo>
                <a:cubicBezTo>
                  <a:pt x="1105234" y="520281"/>
                  <a:pt x="1103078" y="511616"/>
                  <a:pt x="1123950" y="542925"/>
                </a:cubicBezTo>
                <a:cubicBezTo>
                  <a:pt x="1132459" y="610997"/>
                  <a:pt x="1141448" y="634857"/>
                  <a:pt x="1123950" y="704850"/>
                </a:cubicBezTo>
                <a:cubicBezTo>
                  <a:pt x="1121174" y="715956"/>
                  <a:pt x="1114608" y="727358"/>
                  <a:pt x="1104900" y="733425"/>
                </a:cubicBezTo>
                <a:cubicBezTo>
                  <a:pt x="1087872" y="744068"/>
                  <a:pt x="1047750" y="752475"/>
                  <a:pt x="1047750" y="752475"/>
                </a:cubicBezTo>
                <a:cubicBezTo>
                  <a:pt x="975926" y="728534"/>
                  <a:pt x="1064458" y="760829"/>
                  <a:pt x="990600" y="723900"/>
                </a:cubicBezTo>
                <a:cubicBezTo>
                  <a:pt x="981620" y="719410"/>
                  <a:pt x="971550" y="717550"/>
                  <a:pt x="962025" y="714375"/>
                </a:cubicBezTo>
                <a:cubicBezTo>
                  <a:pt x="952500" y="704850"/>
                  <a:pt x="940922" y="697008"/>
                  <a:pt x="933450" y="685800"/>
                </a:cubicBezTo>
                <a:cubicBezTo>
                  <a:pt x="908628" y="648568"/>
                  <a:pt x="932249" y="541006"/>
                  <a:pt x="933450" y="533400"/>
                </a:cubicBezTo>
                <a:cubicBezTo>
                  <a:pt x="936582" y="513565"/>
                  <a:pt x="940452" y="492314"/>
                  <a:pt x="952500" y="476250"/>
                </a:cubicBezTo>
                <a:cubicBezTo>
                  <a:pt x="1059515" y="333563"/>
                  <a:pt x="910149" y="528976"/>
                  <a:pt x="1009650" y="409575"/>
                </a:cubicBezTo>
                <a:cubicBezTo>
                  <a:pt x="1042791" y="369805"/>
                  <a:pt x="1010365" y="387112"/>
                  <a:pt x="1057275" y="371475"/>
                </a:cubicBezTo>
                <a:cubicBezTo>
                  <a:pt x="1066800" y="361950"/>
                  <a:pt x="1074642" y="350372"/>
                  <a:pt x="1085850" y="342900"/>
                </a:cubicBezTo>
                <a:cubicBezTo>
                  <a:pt x="1094204" y="337331"/>
                  <a:pt x="1105445" y="337865"/>
                  <a:pt x="1114425" y="333375"/>
                </a:cubicBezTo>
                <a:cubicBezTo>
                  <a:pt x="1124664" y="328255"/>
                  <a:pt x="1133475" y="320675"/>
                  <a:pt x="1143000" y="314325"/>
                </a:cubicBezTo>
                <a:cubicBezTo>
                  <a:pt x="1238250" y="317500"/>
                  <a:pt x="1333776" y="315936"/>
                  <a:pt x="1428750" y="323850"/>
                </a:cubicBezTo>
                <a:cubicBezTo>
                  <a:pt x="1502292" y="329978"/>
                  <a:pt x="1466039" y="341192"/>
                  <a:pt x="1514475" y="361950"/>
                </a:cubicBezTo>
                <a:cubicBezTo>
                  <a:pt x="1526507" y="367107"/>
                  <a:pt x="1540036" y="367713"/>
                  <a:pt x="1552575" y="371475"/>
                </a:cubicBezTo>
                <a:cubicBezTo>
                  <a:pt x="1571809" y="377245"/>
                  <a:pt x="1590675" y="384175"/>
                  <a:pt x="1609725" y="390525"/>
                </a:cubicBezTo>
                <a:cubicBezTo>
                  <a:pt x="1619250" y="393700"/>
                  <a:pt x="1629946" y="394481"/>
                  <a:pt x="1638300" y="400050"/>
                </a:cubicBezTo>
                <a:cubicBezTo>
                  <a:pt x="1664075" y="417233"/>
                  <a:pt x="1674763" y="426065"/>
                  <a:pt x="1704975" y="438150"/>
                </a:cubicBezTo>
                <a:cubicBezTo>
                  <a:pt x="1723619" y="445608"/>
                  <a:pt x="1745417" y="446061"/>
                  <a:pt x="1762125" y="457200"/>
                </a:cubicBezTo>
                <a:cubicBezTo>
                  <a:pt x="1817039" y="493809"/>
                  <a:pt x="1764066" y="462114"/>
                  <a:pt x="1819275" y="485775"/>
                </a:cubicBezTo>
                <a:cubicBezTo>
                  <a:pt x="1975376" y="552676"/>
                  <a:pt x="1766815" y="469674"/>
                  <a:pt x="1885950" y="514350"/>
                </a:cubicBezTo>
                <a:cubicBezTo>
                  <a:pt x="1901959" y="520353"/>
                  <a:pt x="1917080" y="528901"/>
                  <a:pt x="1933575" y="533400"/>
                </a:cubicBezTo>
                <a:cubicBezTo>
                  <a:pt x="1952207" y="538482"/>
                  <a:pt x="1971675" y="539750"/>
                  <a:pt x="1990725" y="542925"/>
                </a:cubicBezTo>
                <a:cubicBezTo>
                  <a:pt x="2046854" y="563973"/>
                  <a:pt x="2080062" y="575091"/>
                  <a:pt x="2133600" y="600075"/>
                </a:cubicBezTo>
                <a:cubicBezTo>
                  <a:pt x="2159334" y="612084"/>
                  <a:pt x="2186171" y="622423"/>
                  <a:pt x="2209800" y="638175"/>
                </a:cubicBezTo>
                <a:cubicBezTo>
                  <a:pt x="2219325" y="644525"/>
                  <a:pt x="2227853" y="652716"/>
                  <a:pt x="2238375" y="657225"/>
                </a:cubicBezTo>
                <a:cubicBezTo>
                  <a:pt x="2250407" y="662382"/>
                  <a:pt x="2263963" y="662900"/>
                  <a:pt x="2276475" y="666750"/>
                </a:cubicBezTo>
                <a:cubicBezTo>
                  <a:pt x="2305264" y="675608"/>
                  <a:pt x="2335259" y="681855"/>
                  <a:pt x="2362200" y="695325"/>
                </a:cubicBezTo>
                <a:cubicBezTo>
                  <a:pt x="2374900" y="701675"/>
                  <a:pt x="2387117" y="709102"/>
                  <a:pt x="2400300" y="714375"/>
                </a:cubicBezTo>
                <a:cubicBezTo>
                  <a:pt x="2445849" y="732595"/>
                  <a:pt x="2485480" y="740432"/>
                  <a:pt x="2533650" y="752475"/>
                </a:cubicBezTo>
                <a:cubicBezTo>
                  <a:pt x="2546350" y="755650"/>
                  <a:pt x="2558913" y="759433"/>
                  <a:pt x="2571750" y="762000"/>
                </a:cubicBezTo>
                <a:cubicBezTo>
                  <a:pt x="2603500" y="768350"/>
                  <a:pt x="2635867" y="772155"/>
                  <a:pt x="2667000" y="781050"/>
                </a:cubicBezTo>
                <a:cubicBezTo>
                  <a:pt x="2749241" y="804548"/>
                  <a:pt x="2711010" y="795567"/>
                  <a:pt x="2781300" y="809625"/>
                </a:cubicBezTo>
                <a:cubicBezTo>
                  <a:pt x="2794000" y="815975"/>
                  <a:pt x="2805417" y="826207"/>
                  <a:pt x="2819400" y="828675"/>
                </a:cubicBezTo>
                <a:cubicBezTo>
                  <a:pt x="2860167" y="835869"/>
                  <a:pt x="2901869" y="836362"/>
                  <a:pt x="2943225" y="838200"/>
                </a:cubicBezTo>
                <a:cubicBezTo>
                  <a:pt x="3044774" y="842713"/>
                  <a:pt x="3146425" y="844550"/>
                  <a:pt x="3248025" y="847725"/>
                </a:cubicBezTo>
                <a:cubicBezTo>
                  <a:pt x="3324865" y="866935"/>
                  <a:pt x="3314426" y="866775"/>
                  <a:pt x="3438525" y="866775"/>
                </a:cubicBezTo>
                <a:cubicBezTo>
                  <a:pt x="3533828" y="866775"/>
                  <a:pt x="3629025" y="860425"/>
                  <a:pt x="3724275" y="857250"/>
                </a:cubicBezTo>
                <a:cubicBezTo>
                  <a:pt x="3743609" y="852417"/>
                  <a:pt x="3771819" y="846399"/>
                  <a:pt x="3790950" y="838200"/>
                </a:cubicBezTo>
                <a:cubicBezTo>
                  <a:pt x="3804001" y="832607"/>
                  <a:pt x="3815867" y="824423"/>
                  <a:pt x="3829050" y="819150"/>
                </a:cubicBezTo>
                <a:cubicBezTo>
                  <a:pt x="3847694" y="811692"/>
                  <a:pt x="3869492" y="811239"/>
                  <a:pt x="3886200" y="800100"/>
                </a:cubicBezTo>
                <a:cubicBezTo>
                  <a:pt x="3926589" y="773174"/>
                  <a:pt x="3904536" y="786170"/>
                  <a:pt x="3952875" y="762000"/>
                </a:cubicBezTo>
                <a:cubicBezTo>
                  <a:pt x="3998447" y="693642"/>
                  <a:pt x="3974786" y="721039"/>
                  <a:pt x="4019550" y="676275"/>
                </a:cubicBezTo>
                <a:cubicBezTo>
                  <a:pt x="4022725" y="666750"/>
                  <a:pt x="4024585" y="656680"/>
                  <a:pt x="4029075" y="647700"/>
                </a:cubicBezTo>
                <a:cubicBezTo>
                  <a:pt x="4056905" y="592040"/>
                  <a:pt x="4041689" y="646413"/>
                  <a:pt x="4057650" y="590550"/>
                </a:cubicBezTo>
                <a:cubicBezTo>
                  <a:pt x="4064306" y="567255"/>
                  <a:pt x="4074907" y="512277"/>
                  <a:pt x="4086225" y="495300"/>
                </a:cubicBezTo>
                <a:cubicBezTo>
                  <a:pt x="4098925" y="476250"/>
                  <a:pt x="4117085" y="459870"/>
                  <a:pt x="4124325" y="438150"/>
                </a:cubicBezTo>
                <a:cubicBezTo>
                  <a:pt x="4159063" y="333937"/>
                  <a:pt x="4103661" y="491787"/>
                  <a:pt x="4152900" y="381000"/>
                </a:cubicBezTo>
                <a:cubicBezTo>
                  <a:pt x="4161055" y="362650"/>
                  <a:pt x="4165600" y="342900"/>
                  <a:pt x="4171950" y="323850"/>
                </a:cubicBezTo>
                <a:lnTo>
                  <a:pt x="4181475" y="295275"/>
                </a:lnTo>
                <a:cubicBezTo>
                  <a:pt x="4184650" y="244475"/>
                  <a:pt x="4186174" y="193545"/>
                  <a:pt x="4191000" y="142875"/>
                </a:cubicBezTo>
                <a:cubicBezTo>
                  <a:pt x="4192535" y="126759"/>
                  <a:pt x="4197013" y="111054"/>
                  <a:pt x="4200525" y="95250"/>
                </a:cubicBezTo>
                <a:cubicBezTo>
                  <a:pt x="4203365" y="82471"/>
                  <a:pt x="4208747" y="70176"/>
                  <a:pt x="4210050" y="57150"/>
                </a:cubicBezTo>
                <a:cubicBezTo>
                  <a:pt x="4211946" y="38195"/>
                  <a:pt x="4210050" y="19050"/>
                  <a:pt x="4210050" y="0"/>
                </a:cubicBezTo>
              </a:path>
            </a:pathLst>
          </a:custGeom>
          <a:noFill/>
          <a:ln w="25400">
            <a:solidFill>
              <a:schemeClr val="accent1"/>
            </a:solidFill>
            <a:prstDash val="dash"/>
            <a:tailEnd type="triangle" w="lg" len="lg"/>
          </a:ln>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CH" sz="2400" b="1" i="0" u="none" strike="noStrike" cap="none" normalizeH="0" baseline="0">
              <a:ln>
                <a:noFill/>
              </a:ln>
              <a:solidFill>
                <a:schemeClr val="tx1"/>
              </a:solidFill>
              <a:effectLst/>
              <a:latin typeface="Segoe UI" pitchFamily="-128" charset="0"/>
              <a:ea typeface="ＭＳ Ｐゴシック" pitchFamily="-128" charset="-128"/>
              <a:cs typeface="ＭＳ Ｐゴシック" pitchFamily="-128" charset="-128"/>
            </a:endParaRPr>
          </a:p>
        </p:txBody>
      </p:sp>
      <p:sp>
        <p:nvSpPr>
          <p:cNvPr id="20" name="Freeform: Shape 19">
            <a:extLst>
              <a:ext uri="{FF2B5EF4-FFF2-40B4-BE49-F238E27FC236}">
                <a16:creationId xmlns:a16="http://schemas.microsoft.com/office/drawing/2014/main" id="{973A5AC6-7BF7-431D-9341-946AB7E985FF}"/>
              </a:ext>
            </a:extLst>
          </p:cNvPr>
          <p:cNvSpPr/>
          <p:nvPr/>
        </p:nvSpPr>
        <p:spPr>
          <a:xfrm>
            <a:off x="6176682" y="1174376"/>
            <a:ext cx="327481" cy="1515036"/>
          </a:xfrm>
          <a:custGeom>
            <a:avLst/>
            <a:gdLst>
              <a:gd name="connsiteX0" fmla="*/ 197224 w 327481"/>
              <a:gd name="connsiteY0" fmla="*/ 0 h 1515036"/>
              <a:gd name="connsiteX1" fmla="*/ 224118 w 327481"/>
              <a:gd name="connsiteY1" fmla="*/ 44824 h 1515036"/>
              <a:gd name="connsiteX2" fmla="*/ 251012 w 327481"/>
              <a:gd name="connsiteY2" fmla="*/ 62753 h 1515036"/>
              <a:gd name="connsiteX3" fmla="*/ 268942 w 327481"/>
              <a:gd name="connsiteY3" fmla="*/ 134471 h 1515036"/>
              <a:gd name="connsiteX4" fmla="*/ 286871 w 327481"/>
              <a:gd name="connsiteY4" fmla="*/ 206189 h 1515036"/>
              <a:gd name="connsiteX5" fmla="*/ 304800 w 327481"/>
              <a:gd name="connsiteY5" fmla="*/ 385483 h 1515036"/>
              <a:gd name="connsiteX6" fmla="*/ 322730 w 327481"/>
              <a:gd name="connsiteY6" fmla="*/ 493059 h 1515036"/>
              <a:gd name="connsiteX7" fmla="*/ 304800 w 327481"/>
              <a:gd name="connsiteY7" fmla="*/ 905436 h 1515036"/>
              <a:gd name="connsiteX8" fmla="*/ 286871 w 327481"/>
              <a:gd name="connsiteY8" fmla="*/ 959224 h 1515036"/>
              <a:gd name="connsiteX9" fmla="*/ 277906 w 327481"/>
              <a:gd name="connsiteY9" fmla="*/ 986118 h 1515036"/>
              <a:gd name="connsiteX10" fmla="*/ 259977 w 327481"/>
              <a:gd name="connsiteY10" fmla="*/ 1013012 h 1515036"/>
              <a:gd name="connsiteX11" fmla="*/ 224118 w 327481"/>
              <a:gd name="connsiteY11" fmla="*/ 1066800 h 1515036"/>
              <a:gd name="connsiteX12" fmla="*/ 206189 w 327481"/>
              <a:gd name="connsiteY12" fmla="*/ 1129553 h 1515036"/>
              <a:gd name="connsiteX13" fmla="*/ 188259 w 327481"/>
              <a:gd name="connsiteY13" fmla="*/ 1228165 h 1515036"/>
              <a:gd name="connsiteX14" fmla="*/ 170330 w 327481"/>
              <a:gd name="connsiteY14" fmla="*/ 1281953 h 1515036"/>
              <a:gd name="connsiteX15" fmla="*/ 161365 w 327481"/>
              <a:gd name="connsiteY15" fmla="*/ 1317812 h 1515036"/>
              <a:gd name="connsiteX16" fmla="*/ 134471 w 327481"/>
              <a:gd name="connsiteY16" fmla="*/ 1353671 h 1515036"/>
              <a:gd name="connsiteX17" fmla="*/ 116542 w 327481"/>
              <a:gd name="connsiteY17" fmla="*/ 1380565 h 1515036"/>
              <a:gd name="connsiteX18" fmla="*/ 107577 w 327481"/>
              <a:gd name="connsiteY18" fmla="*/ 1407459 h 1515036"/>
              <a:gd name="connsiteX19" fmla="*/ 80683 w 327481"/>
              <a:gd name="connsiteY19" fmla="*/ 1425389 h 1515036"/>
              <a:gd name="connsiteX20" fmla="*/ 35859 w 327481"/>
              <a:gd name="connsiteY20" fmla="*/ 1479177 h 1515036"/>
              <a:gd name="connsiteX21" fmla="*/ 0 w 327481"/>
              <a:gd name="connsiteY21" fmla="*/ 1515036 h 1515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7481" h="1515036">
                <a:moveTo>
                  <a:pt x="197224" y="0"/>
                </a:moveTo>
                <a:cubicBezTo>
                  <a:pt x="206189" y="14941"/>
                  <a:pt x="212778" y="31594"/>
                  <a:pt x="224118" y="44824"/>
                </a:cubicBezTo>
                <a:cubicBezTo>
                  <a:pt x="231130" y="53004"/>
                  <a:pt x="244281" y="54340"/>
                  <a:pt x="251012" y="62753"/>
                </a:cubicBezTo>
                <a:cubicBezTo>
                  <a:pt x="258463" y="72067"/>
                  <a:pt x="268333" y="132035"/>
                  <a:pt x="268942" y="134471"/>
                </a:cubicBezTo>
                <a:cubicBezTo>
                  <a:pt x="280743" y="181676"/>
                  <a:pt x="279247" y="142657"/>
                  <a:pt x="286871" y="206189"/>
                </a:cubicBezTo>
                <a:cubicBezTo>
                  <a:pt x="294027" y="265824"/>
                  <a:pt x="298167" y="325788"/>
                  <a:pt x="304800" y="385483"/>
                </a:cubicBezTo>
                <a:cubicBezTo>
                  <a:pt x="314809" y="475557"/>
                  <a:pt x="305208" y="440494"/>
                  <a:pt x="322730" y="493059"/>
                </a:cubicBezTo>
                <a:cubicBezTo>
                  <a:pt x="320395" y="591132"/>
                  <a:pt x="343535" y="776320"/>
                  <a:pt x="304800" y="905436"/>
                </a:cubicBezTo>
                <a:cubicBezTo>
                  <a:pt x="299369" y="923538"/>
                  <a:pt x="292847" y="941295"/>
                  <a:pt x="286871" y="959224"/>
                </a:cubicBezTo>
                <a:cubicBezTo>
                  <a:pt x="283883" y="968189"/>
                  <a:pt x="283148" y="978255"/>
                  <a:pt x="277906" y="986118"/>
                </a:cubicBezTo>
                <a:cubicBezTo>
                  <a:pt x="271930" y="995083"/>
                  <a:pt x="264795" y="1003375"/>
                  <a:pt x="259977" y="1013012"/>
                </a:cubicBezTo>
                <a:cubicBezTo>
                  <a:pt x="234030" y="1064906"/>
                  <a:pt x="275099" y="1015819"/>
                  <a:pt x="224118" y="1066800"/>
                </a:cubicBezTo>
                <a:cubicBezTo>
                  <a:pt x="215573" y="1092435"/>
                  <a:pt x="211818" y="1101408"/>
                  <a:pt x="206189" y="1129553"/>
                </a:cubicBezTo>
                <a:cubicBezTo>
                  <a:pt x="201063" y="1155183"/>
                  <a:pt x="195471" y="1201721"/>
                  <a:pt x="188259" y="1228165"/>
                </a:cubicBezTo>
                <a:cubicBezTo>
                  <a:pt x="183286" y="1246398"/>
                  <a:pt x="175761" y="1263851"/>
                  <a:pt x="170330" y="1281953"/>
                </a:cubicBezTo>
                <a:cubicBezTo>
                  <a:pt x="166790" y="1293754"/>
                  <a:pt x="166875" y="1306792"/>
                  <a:pt x="161365" y="1317812"/>
                </a:cubicBezTo>
                <a:cubicBezTo>
                  <a:pt x="154683" y="1331176"/>
                  <a:pt x="143155" y="1341513"/>
                  <a:pt x="134471" y="1353671"/>
                </a:cubicBezTo>
                <a:cubicBezTo>
                  <a:pt x="128209" y="1362438"/>
                  <a:pt x="121360" y="1370928"/>
                  <a:pt x="116542" y="1380565"/>
                </a:cubicBezTo>
                <a:cubicBezTo>
                  <a:pt x="112316" y="1389017"/>
                  <a:pt x="113480" y="1400080"/>
                  <a:pt x="107577" y="1407459"/>
                </a:cubicBezTo>
                <a:cubicBezTo>
                  <a:pt x="100846" y="1415872"/>
                  <a:pt x="88960" y="1418491"/>
                  <a:pt x="80683" y="1425389"/>
                </a:cubicBezTo>
                <a:cubicBezTo>
                  <a:pt x="-7444" y="1498829"/>
                  <a:pt x="106386" y="1408652"/>
                  <a:pt x="35859" y="1479177"/>
                </a:cubicBezTo>
                <a:cubicBezTo>
                  <a:pt x="-7412" y="1522447"/>
                  <a:pt x="20492" y="1474051"/>
                  <a:pt x="0" y="1515036"/>
                </a:cubicBezTo>
              </a:path>
            </a:pathLst>
          </a:custGeom>
          <a:noFill/>
          <a:ln w="25400">
            <a:solidFill>
              <a:schemeClr val="accent1"/>
            </a:solidFill>
            <a:prstDash val="dash"/>
            <a:tailEnd type="triangle" w="lg" len="lg"/>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eaLnBrk="0" fontAlgn="base" hangingPunct="0">
              <a:spcBef>
                <a:spcPct val="0"/>
              </a:spcBef>
              <a:spcAft>
                <a:spcPct val="0"/>
              </a:spcAft>
            </a:pPr>
            <a:endParaRPr lang="de-CH" b="1">
              <a:latin typeface="Segoe UI" pitchFamily="-128" charset="0"/>
              <a:ea typeface="ＭＳ Ｐゴシック" pitchFamily="-128" charset="-128"/>
            </a:endParaRPr>
          </a:p>
        </p:txBody>
      </p:sp>
      <p:sp>
        <p:nvSpPr>
          <p:cNvPr id="22" name="Lightning Bolt 21">
            <a:extLst>
              <a:ext uri="{FF2B5EF4-FFF2-40B4-BE49-F238E27FC236}">
                <a16:creationId xmlns:a16="http://schemas.microsoft.com/office/drawing/2014/main" id="{416D5A38-3BA8-43E8-B200-58D9918CA6C3}"/>
              </a:ext>
            </a:extLst>
          </p:cNvPr>
          <p:cNvSpPr/>
          <p:nvPr/>
        </p:nvSpPr>
        <p:spPr>
          <a:xfrm>
            <a:off x="10642294" y="1209675"/>
            <a:ext cx="520717" cy="571321"/>
          </a:xfrm>
          <a:prstGeom prst="lightningBolt">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
        <p:nvSpPr>
          <p:cNvPr id="23" name="Freeform: Shape 22">
            <a:extLst>
              <a:ext uri="{FF2B5EF4-FFF2-40B4-BE49-F238E27FC236}">
                <a16:creationId xmlns:a16="http://schemas.microsoft.com/office/drawing/2014/main" id="{F55E4F5B-06F4-4B65-B90F-35B9BBA721AF}"/>
              </a:ext>
            </a:extLst>
          </p:cNvPr>
          <p:cNvSpPr/>
          <p:nvPr/>
        </p:nvSpPr>
        <p:spPr>
          <a:xfrm>
            <a:off x="1972019" y="385590"/>
            <a:ext cx="7943162" cy="2875403"/>
          </a:xfrm>
          <a:custGeom>
            <a:avLst/>
            <a:gdLst>
              <a:gd name="connsiteX0" fmla="*/ 7943162 w 7943162"/>
              <a:gd name="connsiteY0" fmla="*/ 1652530 h 2875403"/>
              <a:gd name="connsiteX1" fmla="*/ 7766892 w 7943162"/>
              <a:gd name="connsiteY1" fmla="*/ 1641514 h 2875403"/>
              <a:gd name="connsiteX2" fmla="*/ 7700791 w 7943162"/>
              <a:gd name="connsiteY2" fmla="*/ 1630497 h 2875403"/>
              <a:gd name="connsiteX3" fmla="*/ 7612656 w 7943162"/>
              <a:gd name="connsiteY3" fmla="*/ 1619480 h 2875403"/>
              <a:gd name="connsiteX4" fmla="*/ 7513504 w 7943162"/>
              <a:gd name="connsiteY4" fmla="*/ 1575412 h 2875403"/>
              <a:gd name="connsiteX5" fmla="*/ 7480453 w 7943162"/>
              <a:gd name="connsiteY5" fmla="*/ 1564396 h 2875403"/>
              <a:gd name="connsiteX6" fmla="*/ 7348251 w 7943162"/>
              <a:gd name="connsiteY6" fmla="*/ 1542362 h 2875403"/>
              <a:gd name="connsiteX7" fmla="*/ 7293167 w 7943162"/>
              <a:gd name="connsiteY7" fmla="*/ 1520328 h 2875403"/>
              <a:gd name="connsiteX8" fmla="*/ 7227065 w 7943162"/>
              <a:gd name="connsiteY8" fmla="*/ 1498294 h 2875403"/>
              <a:gd name="connsiteX9" fmla="*/ 7160964 w 7943162"/>
              <a:gd name="connsiteY9" fmla="*/ 1454227 h 2875403"/>
              <a:gd name="connsiteX10" fmla="*/ 7127914 w 7943162"/>
              <a:gd name="connsiteY10" fmla="*/ 1421176 h 2875403"/>
              <a:gd name="connsiteX11" fmla="*/ 7083846 w 7943162"/>
              <a:gd name="connsiteY11" fmla="*/ 1388126 h 2875403"/>
              <a:gd name="connsiteX12" fmla="*/ 7039779 w 7943162"/>
              <a:gd name="connsiteY12" fmla="*/ 1366092 h 2875403"/>
              <a:gd name="connsiteX13" fmla="*/ 6984694 w 7943162"/>
              <a:gd name="connsiteY13" fmla="*/ 1299991 h 2875403"/>
              <a:gd name="connsiteX14" fmla="*/ 6940627 w 7943162"/>
              <a:gd name="connsiteY14" fmla="*/ 1266940 h 2875403"/>
              <a:gd name="connsiteX15" fmla="*/ 6874526 w 7943162"/>
              <a:gd name="connsiteY15" fmla="*/ 1233890 h 2875403"/>
              <a:gd name="connsiteX16" fmla="*/ 6797408 w 7943162"/>
              <a:gd name="connsiteY16" fmla="*/ 1156771 h 2875403"/>
              <a:gd name="connsiteX17" fmla="*/ 6731306 w 7943162"/>
              <a:gd name="connsiteY17" fmla="*/ 1112704 h 2875403"/>
              <a:gd name="connsiteX18" fmla="*/ 6665205 w 7943162"/>
              <a:gd name="connsiteY18" fmla="*/ 1057620 h 2875403"/>
              <a:gd name="connsiteX19" fmla="*/ 6610121 w 7943162"/>
              <a:gd name="connsiteY19" fmla="*/ 991518 h 2875403"/>
              <a:gd name="connsiteX20" fmla="*/ 6588087 w 7943162"/>
              <a:gd name="connsiteY20" fmla="*/ 958468 h 2875403"/>
              <a:gd name="connsiteX21" fmla="*/ 6555036 w 7943162"/>
              <a:gd name="connsiteY21" fmla="*/ 925417 h 2875403"/>
              <a:gd name="connsiteX22" fmla="*/ 6521986 w 7943162"/>
              <a:gd name="connsiteY22" fmla="*/ 881350 h 2875403"/>
              <a:gd name="connsiteX23" fmla="*/ 6499952 w 7943162"/>
              <a:gd name="connsiteY23" fmla="*/ 848299 h 2875403"/>
              <a:gd name="connsiteX24" fmla="*/ 6433851 w 7943162"/>
              <a:gd name="connsiteY24" fmla="*/ 793215 h 2875403"/>
              <a:gd name="connsiteX25" fmla="*/ 6422834 w 7943162"/>
              <a:gd name="connsiteY25" fmla="*/ 760164 h 2875403"/>
              <a:gd name="connsiteX26" fmla="*/ 6323682 w 7943162"/>
              <a:gd name="connsiteY26" fmla="*/ 694063 h 2875403"/>
              <a:gd name="connsiteX27" fmla="*/ 6213514 w 7943162"/>
              <a:gd name="connsiteY27" fmla="*/ 616945 h 2875403"/>
              <a:gd name="connsiteX28" fmla="*/ 6180463 w 7943162"/>
              <a:gd name="connsiteY28" fmla="*/ 605928 h 2875403"/>
              <a:gd name="connsiteX29" fmla="*/ 6103345 w 7943162"/>
              <a:gd name="connsiteY29" fmla="*/ 550844 h 2875403"/>
              <a:gd name="connsiteX30" fmla="*/ 5993176 w 7943162"/>
              <a:gd name="connsiteY30" fmla="*/ 517793 h 2875403"/>
              <a:gd name="connsiteX31" fmla="*/ 5960126 w 7943162"/>
              <a:gd name="connsiteY31" fmla="*/ 495759 h 2875403"/>
              <a:gd name="connsiteX32" fmla="*/ 5927075 w 7943162"/>
              <a:gd name="connsiteY32" fmla="*/ 462709 h 2875403"/>
              <a:gd name="connsiteX33" fmla="*/ 5871991 w 7943162"/>
              <a:gd name="connsiteY33" fmla="*/ 451692 h 2875403"/>
              <a:gd name="connsiteX34" fmla="*/ 5838940 w 7943162"/>
              <a:gd name="connsiteY34" fmla="*/ 429658 h 2875403"/>
              <a:gd name="connsiteX35" fmla="*/ 5761822 w 7943162"/>
              <a:gd name="connsiteY35" fmla="*/ 407624 h 2875403"/>
              <a:gd name="connsiteX36" fmla="*/ 5728771 w 7943162"/>
              <a:gd name="connsiteY36" fmla="*/ 385591 h 2875403"/>
              <a:gd name="connsiteX37" fmla="*/ 5662670 w 7943162"/>
              <a:gd name="connsiteY37" fmla="*/ 330506 h 2875403"/>
              <a:gd name="connsiteX38" fmla="*/ 5574535 w 7943162"/>
              <a:gd name="connsiteY38" fmla="*/ 308473 h 2875403"/>
              <a:gd name="connsiteX39" fmla="*/ 5442333 w 7943162"/>
              <a:gd name="connsiteY39" fmla="*/ 264405 h 2875403"/>
              <a:gd name="connsiteX40" fmla="*/ 5398265 w 7943162"/>
              <a:gd name="connsiteY40" fmla="*/ 253388 h 2875403"/>
              <a:gd name="connsiteX41" fmla="*/ 5354198 w 7943162"/>
              <a:gd name="connsiteY41" fmla="*/ 231355 h 2875403"/>
              <a:gd name="connsiteX42" fmla="*/ 5310130 w 7943162"/>
              <a:gd name="connsiteY42" fmla="*/ 220338 h 2875403"/>
              <a:gd name="connsiteX43" fmla="*/ 5199962 w 7943162"/>
              <a:gd name="connsiteY43" fmla="*/ 198304 h 2875403"/>
              <a:gd name="connsiteX44" fmla="*/ 5166911 w 7943162"/>
              <a:gd name="connsiteY44" fmla="*/ 187287 h 2875403"/>
              <a:gd name="connsiteX45" fmla="*/ 5078776 w 7943162"/>
              <a:gd name="connsiteY45" fmla="*/ 165253 h 2875403"/>
              <a:gd name="connsiteX46" fmla="*/ 4847422 w 7943162"/>
              <a:gd name="connsiteY46" fmla="*/ 176270 h 2875403"/>
              <a:gd name="connsiteX47" fmla="*/ 4836405 w 7943162"/>
              <a:gd name="connsiteY47" fmla="*/ 220338 h 2875403"/>
              <a:gd name="connsiteX48" fmla="*/ 4858439 w 7943162"/>
              <a:gd name="connsiteY48" fmla="*/ 253388 h 2875403"/>
              <a:gd name="connsiteX49" fmla="*/ 4880473 w 7943162"/>
              <a:gd name="connsiteY49" fmla="*/ 297456 h 2875403"/>
              <a:gd name="connsiteX50" fmla="*/ 4946574 w 7943162"/>
              <a:gd name="connsiteY50" fmla="*/ 341523 h 2875403"/>
              <a:gd name="connsiteX51" fmla="*/ 5012675 w 7943162"/>
              <a:gd name="connsiteY51" fmla="*/ 396608 h 2875403"/>
              <a:gd name="connsiteX52" fmla="*/ 5056742 w 7943162"/>
              <a:gd name="connsiteY52" fmla="*/ 429658 h 2875403"/>
              <a:gd name="connsiteX53" fmla="*/ 5133861 w 7943162"/>
              <a:gd name="connsiteY53" fmla="*/ 462709 h 2875403"/>
              <a:gd name="connsiteX54" fmla="*/ 5166911 w 7943162"/>
              <a:gd name="connsiteY54" fmla="*/ 473726 h 2875403"/>
              <a:gd name="connsiteX55" fmla="*/ 5255046 w 7943162"/>
              <a:gd name="connsiteY55" fmla="*/ 484743 h 2875403"/>
              <a:gd name="connsiteX56" fmla="*/ 5299114 w 7943162"/>
              <a:gd name="connsiteY56" fmla="*/ 495759 h 2875403"/>
              <a:gd name="connsiteX57" fmla="*/ 5420299 w 7943162"/>
              <a:gd name="connsiteY57" fmla="*/ 506776 h 2875403"/>
              <a:gd name="connsiteX58" fmla="*/ 5541485 w 7943162"/>
              <a:gd name="connsiteY58" fmla="*/ 528810 h 2875403"/>
              <a:gd name="connsiteX59" fmla="*/ 5794873 w 7943162"/>
              <a:gd name="connsiteY59" fmla="*/ 517793 h 2875403"/>
              <a:gd name="connsiteX60" fmla="*/ 5960126 w 7943162"/>
              <a:gd name="connsiteY60" fmla="*/ 506776 h 2875403"/>
              <a:gd name="connsiteX61" fmla="*/ 6004193 w 7943162"/>
              <a:gd name="connsiteY61" fmla="*/ 484743 h 2875403"/>
              <a:gd name="connsiteX62" fmla="*/ 6037244 w 7943162"/>
              <a:gd name="connsiteY62" fmla="*/ 451692 h 2875403"/>
              <a:gd name="connsiteX63" fmla="*/ 6070294 w 7943162"/>
              <a:gd name="connsiteY63" fmla="*/ 440675 h 2875403"/>
              <a:gd name="connsiteX64" fmla="*/ 6103345 w 7943162"/>
              <a:gd name="connsiteY64" fmla="*/ 418641 h 2875403"/>
              <a:gd name="connsiteX65" fmla="*/ 6169446 w 7943162"/>
              <a:gd name="connsiteY65" fmla="*/ 385591 h 2875403"/>
              <a:gd name="connsiteX66" fmla="*/ 6180463 w 7943162"/>
              <a:gd name="connsiteY66" fmla="*/ 154237 h 2875403"/>
              <a:gd name="connsiteX67" fmla="*/ 6158429 w 7943162"/>
              <a:gd name="connsiteY67" fmla="*/ 121186 h 2875403"/>
              <a:gd name="connsiteX68" fmla="*/ 6125379 w 7943162"/>
              <a:gd name="connsiteY68" fmla="*/ 110169 h 2875403"/>
              <a:gd name="connsiteX69" fmla="*/ 6081311 w 7943162"/>
              <a:gd name="connsiteY69" fmla="*/ 66102 h 2875403"/>
              <a:gd name="connsiteX70" fmla="*/ 5883008 w 7943162"/>
              <a:gd name="connsiteY70" fmla="*/ 22034 h 2875403"/>
              <a:gd name="connsiteX71" fmla="*/ 5761822 w 7943162"/>
              <a:gd name="connsiteY71" fmla="*/ 0 h 2875403"/>
              <a:gd name="connsiteX72" fmla="*/ 5552501 w 7943162"/>
              <a:gd name="connsiteY72" fmla="*/ 11017 h 2875403"/>
              <a:gd name="connsiteX73" fmla="*/ 5464367 w 7943162"/>
              <a:gd name="connsiteY73" fmla="*/ 88135 h 2875403"/>
              <a:gd name="connsiteX74" fmla="*/ 5420299 w 7943162"/>
              <a:gd name="connsiteY74" fmla="*/ 176270 h 2875403"/>
              <a:gd name="connsiteX75" fmla="*/ 5409282 w 7943162"/>
              <a:gd name="connsiteY75" fmla="*/ 286439 h 2875403"/>
              <a:gd name="connsiteX76" fmla="*/ 5387248 w 7943162"/>
              <a:gd name="connsiteY76" fmla="*/ 330506 h 2875403"/>
              <a:gd name="connsiteX77" fmla="*/ 5376232 w 7943162"/>
              <a:gd name="connsiteY77" fmla="*/ 506776 h 2875403"/>
              <a:gd name="connsiteX78" fmla="*/ 5387248 w 7943162"/>
              <a:gd name="connsiteY78" fmla="*/ 627962 h 2875403"/>
              <a:gd name="connsiteX79" fmla="*/ 5409282 w 7943162"/>
              <a:gd name="connsiteY79" fmla="*/ 705080 h 2875403"/>
              <a:gd name="connsiteX80" fmla="*/ 5431316 w 7943162"/>
              <a:gd name="connsiteY80" fmla="*/ 738130 h 2875403"/>
              <a:gd name="connsiteX81" fmla="*/ 5475383 w 7943162"/>
              <a:gd name="connsiteY81" fmla="*/ 826265 h 2875403"/>
              <a:gd name="connsiteX82" fmla="*/ 5596569 w 7943162"/>
              <a:gd name="connsiteY82" fmla="*/ 925417 h 2875403"/>
              <a:gd name="connsiteX83" fmla="*/ 5640636 w 7943162"/>
              <a:gd name="connsiteY83" fmla="*/ 991518 h 2875403"/>
              <a:gd name="connsiteX84" fmla="*/ 5728771 w 7943162"/>
              <a:gd name="connsiteY84" fmla="*/ 1079653 h 2875403"/>
              <a:gd name="connsiteX85" fmla="*/ 5750805 w 7943162"/>
              <a:gd name="connsiteY85" fmla="*/ 1123721 h 2875403"/>
              <a:gd name="connsiteX86" fmla="*/ 5794873 w 7943162"/>
              <a:gd name="connsiteY86" fmla="*/ 1189822 h 2875403"/>
              <a:gd name="connsiteX87" fmla="*/ 5816906 w 7943162"/>
              <a:gd name="connsiteY87" fmla="*/ 1222873 h 2875403"/>
              <a:gd name="connsiteX88" fmla="*/ 5871991 w 7943162"/>
              <a:gd name="connsiteY88" fmla="*/ 1311008 h 2875403"/>
              <a:gd name="connsiteX89" fmla="*/ 5916058 w 7943162"/>
              <a:gd name="connsiteY89" fmla="*/ 1388126 h 2875403"/>
              <a:gd name="connsiteX90" fmla="*/ 5938092 w 7943162"/>
              <a:gd name="connsiteY90" fmla="*/ 1443210 h 2875403"/>
              <a:gd name="connsiteX91" fmla="*/ 5982159 w 7943162"/>
              <a:gd name="connsiteY91" fmla="*/ 1597446 h 2875403"/>
              <a:gd name="connsiteX92" fmla="*/ 6026227 w 7943162"/>
              <a:gd name="connsiteY92" fmla="*/ 1696598 h 2875403"/>
              <a:gd name="connsiteX93" fmla="*/ 6037244 w 7943162"/>
              <a:gd name="connsiteY93" fmla="*/ 1817783 h 2875403"/>
              <a:gd name="connsiteX94" fmla="*/ 6059277 w 7943162"/>
              <a:gd name="connsiteY94" fmla="*/ 1861851 h 2875403"/>
              <a:gd name="connsiteX95" fmla="*/ 6070294 w 7943162"/>
              <a:gd name="connsiteY95" fmla="*/ 1961003 h 2875403"/>
              <a:gd name="connsiteX96" fmla="*/ 6092328 w 7943162"/>
              <a:gd name="connsiteY96" fmla="*/ 2027104 h 2875403"/>
              <a:gd name="connsiteX97" fmla="*/ 6059277 w 7943162"/>
              <a:gd name="connsiteY97" fmla="*/ 2192357 h 2875403"/>
              <a:gd name="connsiteX98" fmla="*/ 5971142 w 7943162"/>
              <a:gd name="connsiteY98" fmla="*/ 2291509 h 2875403"/>
              <a:gd name="connsiteX99" fmla="*/ 5916058 w 7943162"/>
              <a:gd name="connsiteY99" fmla="*/ 2324559 h 2875403"/>
              <a:gd name="connsiteX100" fmla="*/ 5883008 w 7943162"/>
              <a:gd name="connsiteY100" fmla="*/ 2357610 h 2875403"/>
              <a:gd name="connsiteX101" fmla="*/ 5805889 w 7943162"/>
              <a:gd name="connsiteY101" fmla="*/ 2390661 h 2875403"/>
              <a:gd name="connsiteX102" fmla="*/ 5772839 w 7943162"/>
              <a:gd name="connsiteY102" fmla="*/ 2412694 h 2875403"/>
              <a:gd name="connsiteX103" fmla="*/ 5717754 w 7943162"/>
              <a:gd name="connsiteY103" fmla="*/ 2434728 h 2875403"/>
              <a:gd name="connsiteX104" fmla="*/ 5662670 w 7943162"/>
              <a:gd name="connsiteY104" fmla="*/ 2467779 h 2875403"/>
              <a:gd name="connsiteX105" fmla="*/ 5596569 w 7943162"/>
              <a:gd name="connsiteY105" fmla="*/ 2500829 h 2875403"/>
              <a:gd name="connsiteX106" fmla="*/ 5563518 w 7943162"/>
              <a:gd name="connsiteY106" fmla="*/ 2522863 h 2875403"/>
              <a:gd name="connsiteX107" fmla="*/ 5442333 w 7943162"/>
              <a:gd name="connsiteY107" fmla="*/ 2566930 h 2875403"/>
              <a:gd name="connsiteX108" fmla="*/ 5365215 w 7943162"/>
              <a:gd name="connsiteY108" fmla="*/ 2599981 h 2875403"/>
              <a:gd name="connsiteX109" fmla="*/ 5277080 w 7943162"/>
              <a:gd name="connsiteY109" fmla="*/ 2633032 h 2875403"/>
              <a:gd name="connsiteX110" fmla="*/ 5244029 w 7943162"/>
              <a:gd name="connsiteY110" fmla="*/ 2644049 h 2875403"/>
              <a:gd name="connsiteX111" fmla="*/ 5199962 w 7943162"/>
              <a:gd name="connsiteY111" fmla="*/ 2666082 h 2875403"/>
              <a:gd name="connsiteX112" fmla="*/ 5122844 w 7943162"/>
              <a:gd name="connsiteY112" fmla="*/ 2710150 h 2875403"/>
              <a:gd name="connsiteX113" fmla="*/ 5012675 w 7943162"/>
              <a:gd name="connsiteY113" fmla="*/ 2776251 h 2875403"/>
              <a:gd name="connsiteX114" fmla="*/ 4957591 w 7943162"/>
              <a:gd name="connsiteY114" fmla="*/ 2787268 h 2875403"/>
              <a:gd name="connsiteX115" fmla="*/ 4891489 w 7943162"/>
              <a:gd name="connsiteY115" fmla="*/ 2831335 h 2875403"/>
              <a:gd name="connsiteX116" fmla="*/ 4803354 w 7943162"/>
              <a:gd name="connsiteY116" fmla="*/ 2853369 h 2875403"/>
              <a:gd name="connsiteX117" fmla="*/ 4726236 w 7943162"/>
              <a:gd name="connsiteY117" fmla="*/ 2864386 h 2875403"/>
              <a:gd name="connsiteX118" fmla="*/ 4285562 w 7943162"/>
              <a:gd name="connsiteY118" fmla="*/ 2875403 h 2875403"/>
              <a:gd name="connsiteX119" fmla="*/ 3789803 w 7943162"/>
              <a:gd name="connsiteY119" fmla="*/ 2853369 h 2875403"/>
              <a:gd name="connsiteX120" fmla="*/ 3734718 w 7943162"/>
              <a:gd name="connsiteY120" fmla="*/ 2831335 h 2875403"/>
              <a:gd name="connsiteX121" fmla="*/ 3437263 w 7943162"/>
              <a:gd name="connsiteY121" fmla="*/ 2809302 h 2875403"/>
              <a:gd name="connsiteX122" fmla="*/ 3238959 w 7943162"/>
              <a:gd name="connsiteY122" fmla="*/ 2787268 h 2875403"/>
              <a:gd name="connsiteX123" fmla="*/ 3150824 w 7943162"/>
              <a:gd name="connsiteY123" fmla="*/ 2765234 h 2875403"/>
              <a:gd name="connsiteX124" fmla="*/ 3073706 w 7943162"/>
              <a:gd name="connsiteY124" fmla="*/ 2743200 h 2875403"/>
              <a:gd name="connsiteX125" fmla="*/ 2908453 w 7943162"/>
              <a:gd name="connsiteY125" fmla="*/ 2710150 h 2875403"/>
              <a:gd name="connsiteX126" fmla="*/ 2842352 w 7943162"/>
              <a:gd name="connsiteY126" fmla="*/ 2688116 h 2875403"/>
              <a:gd name="connsiteX127" fmla="*/ 2787268 w 7943162"/>
              <a:gd name="connsiteY127" fmla="*/ 2677099 h 2875403"/>
              <a:gd name="connsiteX128" fmla="*/ 2699133 w 7943162"/>
              <a:gd name="connsiteY128" fmla="*/ 2655065 h 2875403"/>
              <a:gd name="connsiteX129" fmla="*/ 2588964 w 7943162"/>
              <a:gd name="connsiteY129" fmla="*/ 2633032 h 2875403"/>
              <a:gd name="connsiteX130" fmla="*/ 2522863 w 7943162"/>
              <a:gd name="connsiteY130" fmla="*/ 2622015 h 2875403"/>
              <a:gd name="connsiteX131" fmla="*/ 2357610 w 7943162"/>
              <a:gd name="connsiteY131" fmla="*/ 2577947 h 2875403"/>
              <a:gd name="connsiteX132" fmla="*/ 2269475 w 7943162"/>
              <a:gd name="connsiteY132" fmla="*/ 2544897 h 2875403"/>
              <a:gd name="connsiteX133" fmla="*/ 2214391 w 7943162"/>
              <a:gd name="connsiteY133" fmla="*/ 2533880 h 2875403"/>
              <a:gd name="connsiteX134" fmla="*/ 2159306 w 7943162"/>
              <a:gd name="connsiteY134" fmla="*/ 2511846 h 2875403"/>
              <a:gd name="connsiteX135" fmla="*/ 1972020 w 7943162"/>
              <a:gd name="connsiteY135" fmla="*/ 2467779 h 2875403"/>
              <a:gd name="connsiteX136" fmla="*/ 1828800 w 7943162"/>
              <a:gd name="connsiteY136" fmla="*/ 2423711 h 2875403"/>
              <a:gd name="connsiteX137" fmla="*/ 1685581 w 7943162"/>
              <a:gd name="connsiteY137" fmla="*/ 2368627 h 2875403"/>
              <a:gd name="connsiteX138" fmla="*/ 1641514 w 7943162"/>
              <a:gd name="connsiteY138" fmla="*/ 2346593 h 2875403"/>
              <a:gd name="connsiteX139" fmla="*/ 1476261 w 7943162"/>
              <a:gd name="connsiteY139" fmla="*/ 2324559 h 2875403"/>
              <a:gd name="connsiteX140" fmla="*/ 1355075 w 7943162"/>
              <a:gd name="connsiteY140" fmla="*/ 2302526 h 2875403"/>
              <a:gd name="connsiteX141" fmla="*/ 1244906 w 7943162"/>
              <a:gd name="connsiteY141" fmla="*/ 2269475 h 2875403"/>
              <a:gd name="connsiteX142" fmla="*/ 1123721 w 7943162"/>
              <a:gd name="connsiteY142" fmla="*/ 2258458 h 2875403"/>
              <a:gd name="connsiteX143" fmla="*/ 980501 w 7943162"/>
              <a:gd name="connsiteY143" fmla="*/ 2214391 h 2875403"/>
              <a:gd name="connsiteX144" fmla="*/ 848299 w 7943162"/>
              <a:gd name="connsiteY144" fmla="*/ 2192357 h 2875403"/>
              <a:gd name="connsiteX145" fmla="*/ 782198 w 7943162"/>
              <a:gd name="connsiteY145" fmla="*/ 2170323 h 2875403"/>
              <a:gd name="connsiteX146" fmla="*/ 727114 w 7943162"/>
              <a:gd name="connsiteY146" fmla="*/ 2159306 h 2875403"/>
              <a:gd name="connsiteX147" fmla="*/ 627962 w 7943162"/>
              <a:gd name="connsiteY147" fmla="*/ 2126256 h 2875403"/>
              <a:gd name="connsiteX148" fmla="*/ 594911 w 7943162"/>
              <a:gd name="connsiteY148" fmla="*/ 2115239 h 2875403"/>
              <a:gd name="connsiteX149" fmla="*/ 462709 w 7943162"/>
              <a:gd name="connsiteY149" fmla="*/ 2060155 h 2875403"/>
              <a:gd name="connsiteX150" fmla="*/ 308473 w 7943162"/>
              <a:gd name="connsiteY150" fmla="*/ 2016087 h 2875403"/>
              <a:gd name="connsiteX151" fmla="*/ 253388 w 7943162"/>
              <a:gd name="connsiteY151" fmla="*/ 2005070 h 2875403"/>
              <a:gd name="connsiteX152" fmla="*/ 165253 w 7943162"/>
              <a:gd name="connsiteY152" fmla="*/ 1983037 h 2875403"/>
              <a:gd name="connsiteX153" fmla="*/ 77118 w 7943162"/>
              <a:gd name="connsiteY153" fmla="*/ 1972020 h 2875403"/>
              <a:gd name="connsiteX154" fmla="*/ 0 w 7943162"/>
              <a:gd name="connsiteY154" fmla="*/ 1961003 h 287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7943162" h="2875403">
                <a:moveTo>
                  <a:pt x="7943162" y="1652530"/>
                </a:moveTo>
                <a:cubicBezTo>
                  <a:pt x="7884405" y="1648858"/>
                  <a:pt x="7825522" y="1646844"/>
                  <a:pt x="7766892" y="1641514"/>
                </a:cubicBezTo>
                <a:cubicBezTo>
                  <a:pt x="7744646" y="1639492"/>
                  <a:pt x="7722904" y="1633656"/>
                  <a:pt x="7700791" y="1630497"/>
                </a:cubicBezTo>
                <a:cubicBezTo>
                  <a:pt x="7671482" y="1626310"/>
                  <a:pt x="7642034" y="1623152"/>
                  <a:pt x="7612656" y="1619480"/>
                </a:cubicBezTo>
                <a:cubicBezTo>
                  <a:pt x="7560282" y="1584564"/>
                  <a:pt x="7592164" y="1601631"/>
                  <a:pt x="7513504" y="1575412"/>
                </a:cubicBezTo>
                <a:cubicBezTo>
                  <a:pt x="7502487" y="1571740"/>
                  <a:pt x="7491908" y="1566305"/>
                  <a:pt x="7480453" y="1564396"/>
                </a:cubicBezTo>
                <a:lnTo>
                  <a:pt x="7348251" y="1542362"/>
                </a:lnTo>
                <a:cubicBezTo>
                  <a:pt x="7329890" y="1535017"/>
                  <a:pt x="7311752" y="1527086"/>
                  <a:pt x="7293167" y="1520328"/>
                </a:cubicBezTo>
                <a:cubicBezTo>
                  <a:pt x="7271339" y="1512391"/>
                  <a:pt x="7227065" y="1498294"/>
                  <a:pt x="7227065" y="1498294"/>
                </a:cubicBezTo>
                <a:cubicBezTo>
                  <a:pt x="7121629" y="1392858"/>
                  <a:pt x="7256630" y="1518005"/>
                  <a:pt x="7160964" y="1454227"/>
                </a:cubicBezTo>
                <a:cubicBezTo>
                  <a:pt x="7148001" y="1445585"/>
                  <a:pt x="7139743" y="1431315"/>
                  <a:pt x="7127914" y="1421176"/>
                </a:cubicBezTo>
                <a:cubicBezTo>
                  <a:pt x="7113973" y="1409227"/>
                  <a:pt x="7099417" y="1397858"/>
                  <a:pt x="7083846" y="1388126"/>
                </a:cubicBezTo>
                <a:cubicBezTo>
                  <a:pt x="7069919" y="1379422"/>
                  <a:pt x="7053143" y="1375638"/>
                  <a:pt x="7039779" y="1366092"/>
                </a:cubicBezTo>
                <a:cubicBezTo>
                  <a:pt x="6976611" y="1320972"/>
                  <a:pt x="7033008" y="1348305"/>
                  <a:pt x="6984694" y="1299991"/>
                </a:cubicBezTo>
                <a:cubicBezTo>
                  <a:pt x="6971711" y="1287008"/>
                  <a:pt x="6956569" y="1276050"/>
                  <a:pt x="6940627" y="1266940"/>
                </a:cubicBezTo>
                <a:cubicBezTo>
                  <a:pt x="6888568" y="1237192"/>
                  <a:pt x="6924589" y="1278947"/>
                  <a:pt x="6874526" y="1233890"/>
                </a:cubicBezTo>
                <a:cubicBezTo>
                  <a:pt x="6847504" y="1209570"/>
                  <a:pt x="6827657" y="1176936"/>
                  <a:pt x="6797408" y="1156771"/>
                </a:cubicBezTo>
                <a:cubicBezTo>
                  <a:pt x="6775374" y="1142082"/>
                  <a:pt x="6750031" y="1131429"/>
                  <a:pt x="6731306" y="1112704"/>
                </a:cubicBezTo>
                <a:cubicBezTo>
                  <a:pt x="6688894" y="1070290"/>
                  <a:pt x="6711220" y="1088295"/>
                  <a:pt x="6665205" y="1057620"/>
                </a:cubicBezTo>
                <a:cubicBezTo>
                  <a:pt x="6610502" y="975566"/>
                  <a:pt x="6680805" y="1076339"/>
                  <a:pt x="6610121" y="991518"/>
                </a:cubicBezTo>
                <a:cubicBezTo>
                  <a:pt x="6601645" y="981346"/>
                  <a:pt x="6596563" y="968640"/>
                  <a:pt x="6588087" y="958468"/>
                </a:cubicBezTo>
                <a:cubicBezTo>
                  <a:pt x="6578113" y="946499"/>
                  <a:pt x="6565176" y="937247"/>
                  <a:pt x="6555036" y="925417"/>
                </a:cubicBezTo>
                <a:cubicBezTo>
                  <a:pt x="6543087" y="911476"/>
                  <a:pt x="6532658" y="896291"/>
                  <a:pt x="6521986" y="881350"/>
                </a:cubicBezTo>
                <a:cubicBezTo>
                  <a:pt x="6514290" y="870576"/>
                  <a:pt x="6508429" y="858471"/>
                  <a:pt x="6499952" y="848299"/>
                </a:cubicBezTo>
                <a:cubicBezTo>
                  <a:pt x="6473446" y="816492"/>
                  <a:pt x="6466346" y="814879"/>
                  <a:pt x="6433851" y="793215"/>
                </a:cubicBezTo>
                <a:cubicBezTo>
                  <a:pt x="6430179" y="782198"/>
                  <a:pt x="6431046" y="768376"/>
                  <a:pt x="6422834" y="760164"/>
                </a:cubicBezTo>
                <a:cubicBezTo>
                  <a:pt x="6411816" y="749146"/>
                  <a:pt x="6345716" y="710589"/>
                  <a:pt x="6323682" y="694063"/>
                </a:cubicBezTo>
                <a:cubicBezTo>
                  <a:pt x="6303569" y="678978"/>
                  <a:pt x="6229793" y="622371"/>
                  <a:pt x="6213514" y="616945"/>
                </a:cubicBezTo>
                <a:lnTo>
                  <a:pt x="6180463" y="605928"/>
                </a:lnTo>
                <a:cubicBezTo>
                  <a:pt x="6174543" y="601488"/>
                  <a:pt x="6116527" y="556703"/>
                  <a:pt x="6103345" y="550844"/>
                </a:cubicBezTo>
                <a:cubicBezTo>
                  <a:pt x="6068858" y="535516"/>
                  <a:pt x="6029802" y="526949"/>
                  <a:pt x="5993176" y="517793"/>
                </a:cubicBezTo>
                <a:cubicBezTo>
                  <a:pt x="5982159" y="510448"/>
                  <a:pt x="5970298" y="504235"/>
                  <a:pt x="5960126" y="495759"/>
                </a:cubicBezTo>
                <a:cubicBezTo>
                  <a:pt x="5948157" y="485785"/>
                  <a:pt x="5941010" y="469677"/>
                  <a:pt x="5927075" y="462709"/>
                </a:cubicBezTo>
                <a:cubicBezTo>
                  <a:pt x="5910327" y="454335"/>
                  <a:pt x="5890352" y="455364"/>
                  <a:pt x="5871991" y="451692"/>
                </a:cubicBezTo>
                <a:cubicBezTo>
                  <a:pt x="5860974" y="444347"/>
                  <a:pt x="5850783" y="435579"/>
                  <a:pt x="5838940" y="429658"/>
                </a:cubicBezTo>
                <a:cubicBezTo>
                  <a:pt x="5823136" y="421756"/>
                  <a:pt x="5775941" y="411154"/>
                  <a:pt x="5761822" y="407624"/>
                </a:cubicBezTo>
                <a:cubicBezTo>
                  <a:pt x="5750805" y="400280"/>
                  <a:pt x="5738943" y="394067"/>
                  <a:pt x="5728771" y="385591"/>
                </a:cubicBezTo>
                <a:cubicBezTo>
                  <a:pt x="5706238" y="366814"/>
                  <a:pt x="5691790" y="341095"/>
                  <a:pt x="5662670" y="330506"/>
                </a:cubicBezTo>
                <a:cubicBezTo>
                  <a:pt x="5634211" y="320157"/>
                  <a:pt x="5574535" y="308473"/>
                  <a:pt x="5574535" y="308473"/>
                </a:cubicBezTo>
                <a:cubicBezTo>
                  <a:pt x="5503383" y="272896"/>
                  <a:pt x="5546400" y="290422"/>
                  <a:pt x="5442333" y="264405"/>
                </a:cubicBezTo>
                <a:cubicBezTo>
                  <a:pt x="5427644" y="260733"/>
                  <a:pt x="5411808" y="260159"/>
                  <a:pt x="5398265" y="253388"/>
                </a:cubicBezTo>
                <a:cubicBezTo>
                  <a:pt x="5383576" y="246044"/>
                  <a:pt x="5369575" y="237121"/>
                  <a:pt x="5354198" y="231355"/>
                </a:cubicBezTo>
                <a:cubicBezTo>
                  <a:pt x="5340021" y="226039"/>
                  <a:pt x="5324689" y="224498"/>
                  <a:pt x="5310130" y="220338"/>
                </a:cubicBezTo>
                <a:cubicBezTo>
                  <a:pt x="5233215" y="198362"/>
                  <a:pt x="5331577" y="217106"/>
                  <a:pt x="5199962" y="198304"/>
                </a:cubicBezTo>
                <a:cubicBezTo>
                  <a:pt x="5188945" y="194632"/>
                  <a:pt x="5178115" y="190343"/>
                  <a:pt x="5166911" y="187287"/>
                </a:cubicBezTo>
                <a:cubicBezTo>
                  <a:pt x="5137696" y="179319"/>
                  <a:pt x="5078776" y="165253"/>
                  <a:pt x="5078776" y="165253"/>
                </a:cubicBezTo>
                <a:lnTo>
                  <a:pt x="4847422" y="176270"/>
                </a:lnTo>
                <a:cubicBezTo>
                  <a:pt x="4832657" y="179626"/>
                  <a:pt x="4834264" y="205349"/>
                  <a:pt x="4836405" y="220338"/>
                </a:cubicBezTo>
                <a:cubicBezTo>
                  <a:pt x="4838278" y="233445"/>
                  <a:pt x="4851870" y="241892"/>
                  <a:pt x="4858439" y="253388"/>
                </a:cubicBezTo>
                <a:cubicBezTo>
                  <a:pt x="4866587" y="267647"/>
                  <a:pt x="4868860" y="285843"/>
                  <a:pt x="4880473" y="297456"/>
                </a:cubicBezTo>
                <a:cubicBezTo>
                  <a:pt x="4899198" y="316181"/>
                  <a:pt x="4946574" y="341523"/>
                  <a:pt x="4946574" y="341523"/>
                </a:cubicBezTo>
                <a:cubicBezTo>
                  <a:pt x="4984157" y="397897"/>
                  <a:pt x="4948779" y="356673"/>
                  <a:pt x="5012675" y="396608"/>
                </a:cubicBezTo>
                <a:cubicBezTo>
                  <a:pt x="5028245" y="406339"/>
                  <a:pt x="5040623" y="420866"/>
                  <a:pt x="5056742" y="429658"/>
                </a:cubicBezTo>
                <a:cubicBezTo>
                  <a:pt x="5081295" y="443050"/>
                  <a:pt x="5107894" y="452322"/>
                  <a:pt x="5133861" y="462709"/>
                </a:cubicBezTo>
                <a:cubicBezTo>
                  <a:pt x="5144643" y="467022"/>
                  <a:pt x="5155486" y="471649"/>
                  <a:pt x="5166911" y="473726"/>
                </a:cubicBezTo>
                <a:cubicBezTo>
                  <a:pt x="5196040" y="479022"/>
                  <a:pt x="5225842" y="479876"/>
                  <a:pt x="5255046" y="484743"/>
                </a:cubicBezTo>
                <a:cubicBezTo>
                  <a:pt x="5269981" y="487232"/>
                  <a:pt x="5284105" y="493758"/>
                  <a:pt x="5299114" y="495759"/>
                </a:cubicBezTo>
                <a:cubicBezTo>
                  <a:pt x="5339320" y="501120"/>
                  <a:pt x="5379904" y="503104"/>
                  <a:pt x="5420299" y="506776"/>
                </a:cubicBezTo>
                <a:cubicBezTo>
                  <a:pt x="5458868" y="516418"/>
                  <a:pt x="5502011" y="528810"/>
                  <a:pt x="5541485" y="528810"/>
                </a:cubicBezTo>
                <a:cubicBezTo>
                  <a:pt x="5626027" y="528810"/>
                  <a:pt x="5710447" y="522237"/>
                  <a:pt x="5794873" y="517793"/>
                </a:cubicBezTo>
                <a:cubicBezTo>
                  <a:pt x="5850003" y="514891"/>
                  <a:pt x="5905042" y="510448"/>
                  <a:pt x="5960126" y="506776"/>
                </a:cubicBezTo>
                <a:cubicBezTo>
                  <a:pt x="5974815" y="499432"/>
                  <a:pt x="5990829" y="494288"/>
                  <a:pt x="6004193" y="484743"/>
                </a:cubicBezTo>
                <a:cubicBezTo>
                  <a:pt x="6016871" y="475687"/>
                  <a:pt x="6024280" y="460335"/>
                  <a:pt x="6037244" y="451692"/>
                </a:cubicBezTo>
                <a:cubicBezTo>
                  <a:pt x="6046906" y="445250"/>
                  <a:pt x="6059907" y="445868"/>
                  <a:pt x="6070294" y="440675"/>
                </a:cubicBezTo>
                <a:cubicBezTo>
                  <a:pt x="6082137" y="434753"/>
                  <a:pt x="6091502" y="424563"/>
                  <a:pt x="6103345" y="418641"/>
                </a:cubicBezTo>
                <a:cubicBezTo>
                  <a:pt x="6194577" y="373024"/>
                  <a:pt x="6074716" y="448741"/>
                  <a:pt x="6169446" y="385591"/>
                </a:cubicBezTo>
                <a:cubicBezTo>
                  <a:pt x="6203653" y="282971"/>
                  <a:pt x="6205587" y="304979"/>
                  <a:pt x="6180463" y="154237"/>
                </a:cubicBezTo>
                <a:cubicBezTo>
                  <a:pt x="6178286" y="141176"/>
                  <a:pt x="6168768" y="129458"/>
                  <a:pt x="6158429" y="121186"/>
                </a:cubicBezTo>
                <a:cubicBezTo>
                  <a:pt x="6149361" y="113932"/>
                  <a:pt x="6136396" y="113841"/>
                  <a:pt x="6125379" y="110169"/>
                </a:cubicBezTo>
                <a:cubicBezTo>
                  <a:pt x="6110690" y="95480"/>
                  <a:pt x="6097709" y="78856"/>
                  <a:pt x="6081311" y="66102"/>
                </a:cubicBezTo>
                <a:cubicBezTo>
                  <a:pt x="6009555" y="10292"/>
                  <a:pt x="5993050" y="30499"/>
                  <a:pt x="5883008" y="22034"/>
                </a:cubicBezTo>
                <a:cubicBezTo>
                  <a:pt x="5865099" y="18452"/>
                  <a:pt x="5775916" y="0"/>
                  <a:pt x="5761822" y="0"/>
                </a:cubicBezTo>
                <a:cubicBezTo>
                  <a:pt x="5691952" y="0"/>
                  <a:pt x="5622275" y="7345"/>
                  <a:pt x="5552501" y="11017"/>
                </a:cubicBezTo>
                <a:cubicBezTo>
                  <a:pt x="5496367" y="48440"/>
                  <a:pt x="5490598" y="40045"/>
                  <a:pt x="5464367" y="88135"/>
                </a:cubicBezTo>
                <a:cubicBezTo>
                  <a:pt x="5448639" y="116970"/>
                  <a:pt x="5420299" y="176270"/>
                  <a:pt x="5420299" y="176270"/>
                </a:cubicBezTo>
                <a:cubicBezTo>
                  <a:pt x="5416627" y="212993"/>
                  <a:pt x="5417015" y="250352"/>
                  <a:pt x="5409282" y="286439"/>
                </a:cubicBezTo>
                <a:cubicBezTo>
                  <a:pt x="5405841" y="302497"/>
                  <a:pt x="5389684" y="314265"/>
                  <a:pt x="5387248" y="330506"/>
                </a:cubicBezTo>
                <a:cubicBezTo>
                  <a:pt x="5378515" y="388726"/>
                  <a:pt x="5379904" y="448019"/>
                  <a:pt x="5376232" y="506776"/>
                </a:cubicBezTo>
                <a:cubicBezTo>
                  <a:pt x="5379904" y="547171"/>
                  <a:pt x="5381887" y="587756"/>
                  <a:pt x="5387248" y="627962"/>
                </a:cubicBezTo>
                <a:cubicBezTo>
                  <a:pt x="5388531" y="637588"/>
                  <a:pt x="5403103" y="692722"/>
                  <a:pt x="5409282" y="705080"/>
                </a:cubicBezTo>
                <a:cubicBezTo>
                  <a:pt x="5415203" y="716923"/>
                  <a:pt x="5424976" y="726506"/>
                  <a:pt x="5431316" y="738130"/>
                </a:cubicBezTo>
                <a:cubicBezTo>
                  <a:pt x="5447044" y="766965"/>
                  <a:pt x="5457163" y="798936"/>
                  <a:pt x="5475383" y="826265"/>
                </a:cubicBezTo>
                <a:cubicBezTo>
                  <a:pt x="5499531" y="862486"/>
                  <a:pt x="5566807" y="904159"/>
                  <a:pt x="5596569" y="925417"/>
                </a:cubicBezTo>
                <a:cubicBezTo>
                  <a:pt x="5611258" y="947451"/>
                  <a:pt x="5623402" y="971412"/>
                  <a:pt x="5640636" y="991518"/>
                </a:cubicBezTo>
                <a:cubicBezTo>
                  <a:pt x="5667675" y="1023063"/>
                  <a:pt x="5710191" y="1042492"/>
                  <a:pt x="5728771" y="1079653"/>
                </a:cubicBezTo>
                <a:cubicBezTo>
                  <a:pt x="5736116" y="1094342"/>
                  <a:pt x="5742355" y="1109638"/>
                  <a:pt x="5750805" y="1123721"/>
                </a:cubicBezTo>
                <a:cubicBezTo>
                  <a:pt x="5764430" y="1146428"/>
                  <a:pt x="5780184" y="1167788"/>
                  <a:pt x="5794873" y="1189822"/>
                </a:cubicBezTo>
                <a:cubicBezTo>
                  <a:pt x="5802218" y="1200839"/>
                  <a:pt x="5810985" y="1211030"/>
                  <a:pt x="5816906" y="1222873"/>
                </a:cubicBezTo>
                <a:cubicBezTo>
                  <a:pt x="5847152" y="1283363"/>
                  <a:pt x="5829086" y="1253802"/>
                  <a:pt x="5871991" y="1311008"/>
                </a:cubicBezTo>
                <a:cubicBezTo>
                  <a:pt x="5898657" y="1391004"/>
                  <a:pt x="5860478" y="1288081"/>
                  <a:pt x="5916058" y="1388126"/>
                </a:cubicBezTo>
                <a:cubicBezTo>
                  <a:pt x="5925662" y="1405413"/>
                  <a:pt x="5932409" y="1424268"/>
                  <a:pt x="5938092" y="1443210"/>
                </a:cubicBezTo>
                <a:cubicBezTo>
                  <a:pt x="5962543" y="1524710"/>
                  <a:pt x="5930906" y="1494940"/>
                  <a:pt x="5982159" y="1597446"/>
                </a:cubicBezTo>
                <a:cubicBezTo>
                  <a:pt x="6013037" y="1659202"/>
                  <a:pt x="5998093" y="1626266"/>
                  <a:pt x="6026227" y="1696598"/>
                </a:cubicBezTo>
                <a:cubicBezTo>
                  <a:pt x="6029899" y="1736993"/>
                  <a:pt x="6029289" y="1778009"/>
                  <a:pt x="6037244" y="1817783"/>
                </a:cubicBezTo>
                <a:cubicBezTo>
                  <a:pt x="6040465" y="1833887"/>
                  <a:pt x="6055584" y="1845849"/>
                  <a:pt x="6059277" y="1861851"/>
                </a:cubicBezTo>
                <a:cubicBezTo>
                  <a:pt x="6066754" y="1894254"/>
                  <a:pt x="6063772" y="1928395"/>
                  <a:pt x="6070294" y="1961003"/>
                </a:cubicBezTo>
                <a:cubicBezTo>
                  <a:pt x="6074849" y="1983778"/>
                  <a:pt x="6092328" y="2027104"/>
                  <a:pt x="6092328" y="2027104"/>
                </a:cubicBezTo>
                <a:cubicBezTo>
                  <a:pt x="6083511" y="2115268"/>
                  <a:pt x="6092784" y="2125342"/>
                  <a:pt x="6059277" y="2192357"/>
                </a:cubicBezTo>
                <a:cubicBezTo>
                  <a:pt x="6043161" y="2224589"/>
                  <a:pt x="5992004" y="2278992"/>
                  <a:pt x="5971142" y="2291509"/>
                </a:cubicBezTo>
                <a:cubicBezTo>
                  <a:pt x="5952781" y="2302526"/>
                  <a:pt x="5933188" y="2311711"/>
                  <a:pt x="5916058" y="2324559"/>
                </a:cubicBezTo>
                <a:cubicBezTo>
                  <a:pt x="5903594" y="2333907"/>
                  <a:pt x="5895686" y="2348554"/>
                  <a:pt x="5883008" y="2357610"/>
                </a:cubicBezTo>
                <a:cubicBezTo>
                  <a:pt x="5829521" y="2395816"/>
                  <a:pt x="5853836" y="2366688"/>
                  <a:pt x="5805889" y="2390661"/>
                </a:cubicBezTo>
                <a:cubicBezTo>
                  <a:pt x="5794046" y="2396582"/>
                  <a:pt x="5784682" y="2406773"/>
                  <a:pt x="5772839" y="2412694"/>
                </a:cubicBezTo>
                <a:cubicBezTo>
                  <a:pt x="5755151" y="2421538"/>
                  <a:pt x="5735442" y="2425884"/>
                  <a:pt x="5717754" y="2434728"/>
                </a:cubicBezTo>
                <a:cubicBezTo>
                  <a:pt x="5698602" y="2444304"/>
                  <a:pt x="5681468" y="2457525"/>
                  <a:pt x="5662670" y="2467779"/>
                </a:cubicBezTo>
                <a:cubicBezTo>
                  <a:pt x="5641044" y="2479575"/>
                  <a:pt x="5618103" y="2488866"/>
                  <a:pt x="5596569" y="2500829"/>
                </a:cubicBezTo>
                <a:cubicBezTo>
                  <a:pt x="5584994" y="2507259"/>
                  <a:pt x="5575572" y="2517384"/>
                  <a:pt x="5563518" y="2522863"/>
                </a:cubicBezTo>
                <a:cubicBezTo>
                  <a:pt x="5401404" y="2596552"/>
                  <a:pt x="5528505" y="2532461"/>
                  <a:pt x="5442333" y="2566930"/>
                </a:cubicBezTo>
                <a:cubicBezTo>
                  <a:pt x="5416366" y="2577317"/>
                  <a:pt x="5391182" y="2589594"/>
                  <a:pt x="5365215" y="2599981"/>
                </a:cubicBezTo>
                <a:cubicBezTo>
                  <a:pt x="5336083" y="2611634"/>
                  <a:pt x="5306567" y="2622309"/>
                  <a:pt x="5277080" y="2633032"/>
                </a:cubicBezTo>
                <a:cubicBezTo>
                  <a:pt x="5266166" y="2637001"/>
                  <a:pt x="5254703" y="2639475"/>
                  <a:pt x="5244029" y="2644049"/>
                </a:cubicBezTo>
                <a:cubicBezTo>
                  <a:pt x="5228934" y="2650518"/>
                  <a:pt x="5214651" y="2658738"/>
                  <a:pt x="5199962" y="2666082"/>
                </a:cubicBezTo>
                <a:cubicBezTo>
                  <a:pt x="5125757" y="2740287"/>
                  <a:pt x="5211616" y="2665765"/>
                  <a:pt x="5122844" y="2710150"/>
                </a:cubicBezTo>
                <a:cubicBezTo>
                  <a:pt x="5072570" y="2735287"/>
                  <a:pt x="5062137" y="2759763"/>
                  <a:pt x="5012675" y="2776251"/>
                </a:cubicBezTo>
                <a:cubicBezTo>
                  <a:pt x="4994911" y="2782172"/>
                  <a:pt x="4975952" y="2783596"/>
                  <a:pt x="4957591" y="2787268"/>
                </a:cubicBezTo>
                <a:cubicBezTo>
                  <a:pt x="4935557" y="2801957"/>
                  <a:pt x="4916611" y="2822961"/>
                  <a:pt x="4891489" y="2831335"/>
                </a:cubicBezTo>
                <a:cubicBezTo>
                  <a:pt x="4848919" y="2845526"/>
                  <a:pt x="4856533" y="2844506"/>
                  <a:pt x="4803354" y="2853369"/>
                </a:cubicBezTo>
                <a:cubicBezTo>
                  <a:pt x="4777740" y="2857638"/>
                  <a:pt x="4752180" y="2863282"/>
                  <a:pt x="4726236" y="2864386"/>
                </a:cubicBezTo>
                <a:cubicBezTo>
                  <a:pt x="4579432" y="2870633"/>
                  <a:pt x="4432453" y="2871731"/>
                  <a:pt x="4285562" y="2875403"/>
                </a:cubicBezTo>
                <a:cubicBezTo>
                  <a:pt x="4120309" y="2868058"/>
                  <a:pt x="3954692" y="2866560"/>
                  <a:pt x="3789803" y="2853369"/>
                </a:cubicBezTo>
                <a:cubicBezTo>
                  <a:pt x="3770090" y="2851792"/>
                  <a:pt x="3754341" y="2833788"/>
                  <a:pt x="3734718" y="2831335"/>
                </a:cubicBezTo>
                <a:cubicBezTo>
                  <a:pt x="3636062" y="2819003"/>
                  <a:pt x="3536296" y="2818105"/>
                  <a:pt x="3437263" y="2809302"/>
                </a:cubicBezTo>
                <a:cubicBezTo>
                  <a:pt x="3371016" y="2803413"/>
                  <a:pt x="3305060" y="2794613"/>
                  <a:pt x="3238959" y="2787268"/>
                </a:cubicBezTo>
                <a:lnTo>
                  <a:pt x="3150824" y="2765234"/>
                </a:lnTo>
                <a:cubicBezTo>
                  <a:pt x="3124992" y="2758345"/>
                  <a:pt x="3099776" y="2749125"/>
                  <a:pt x="3073706" y="2743200"/>
                </a:cubicBezTo>
                <a:cubicBezTo>
                  <a:pt x="3018928" y="2730750"/>
                  <a:pt x="2963101" y="2723161"/>
                  <a:pt x="2908453" y="2710150"/>
                </a:cubicBezTo>
                <a:cubicBezTo>
                  <a:pt x="2885859" y="2704771"/>
                  <a:pt x="2864759" y="2694227"/>
                  <a:pt x="2842352" y="2688116"/>
                </a:cubicBezTo>
                <a:cubicBezTo>
                  <a:pt x="2824287" y="2683189"/>
                  <a:pt x="2805513" y="2681310"/>
                  <a:pt x="2787268" y="2677099"/>
                </a:cubicBezTo>
                <a:cubicBezTo>
                  <a:pt x="2757761" y="2670290"/>
                  <a:pt x="2728694" y="2661634"/>
                  <a:pt x="2699133" y="2655065"/>
                </a:cubicBezTo>
                <a:cubicBezTo>
                  <a:pt x="2662575" y="2646941"/>
                  <a:pt x="2625773" y="2639934"/>
                  <a:pt x="2588964" y="2633032"/>
                </a:cubicBezTo>
                <a:cubicBezTo>
                  <a:pt x="2567009" y="2628916"/>
                  <a:pt x="2544446" y="2627771"/>
                  <a:pt x="2522863" y="2622015"/>
                </a:cubicBezTo>
                <a:cubicBezTo>
                  <a:pt x="2322291" y="2568529"/>
                  <a:pt x="2509516" y="2603265"/>
                  <a:pt x="2357610" y="2577947"/>
                </a:cubicBezTo>
                <a:cubicBezTo>
                  <a:pt x="2328232" y="2566930"/>
                  <a:pt x="2299464" y="2554124"/>
                  <a:pt x="2269475" y="2544897"/>
                </a:cubicBezTo>
                <a:cubicBezTo>
                  <a:pt x="2251578" y="2539390"/>
                  <a:pt x="2232326" y="2539261"/>
                  <a:pt x="2214391" y="2533880"/>
                </a:cubicBezTo>
                <a:cubicBezTo>
                  <a:pt x="2195449" y="2528197"/>
                  <a:pt x="2178385" y="2517049"/>
                  <a:pt x="2159306" y="2511846"/>
                </a:cubicBezTo>
                <a:cubicBezTo>
                  <a:pt x="2097432" y="2494971"/>
                  <a:pt x="1972020" y="2467779"/>
                  <a:pt x="1972020" y="2467779"/>
                </a:cubicBezTo>
                <a:cubicBezTo>
                  <a:pt x="1868182" y="2415860"/>
                  <a:pt x="2004774" y="2479703"/>
                  <a:pt x="1828800" y="2423711"/>
                </a:cubicBezTo>
                <a:cubicBezTo>
                  <a:pt x="1780059" y="2408202"/>
                  <a:pt x="1732877" y="2388102"/>
                  <a:pt x="1685581" y="2368627"/>
                </a:cubicBezTo>
                <a:cubicBezTo>
                  <a:pt x="1670395" y="2362374"/>
                  <a:pt x="1657358" y="2350914"/>
                  <a:pt x="1641514" y="2346593"/>
                </a:cubicBezTo>
                <a:cubicBezTo>
                  <a:pt x="1626837" y="2342590"/>
                  <a:pt x="1485552" y="2326026"/>
                  <a:pt x="1476261" y="2324559"/>
                </a:cubicBezTo>
                <a:cubicBezTo>
                  <a:pt x="1435706" y="2318156"/>
                  <a:pt x="1395041" y="2311930"/>
                  <a:pt x="1355075" y="2302526"/>
                </a:cubicBezTo>
                <a:cubicBezTo>
                  <a:pt x="1314126" y="2292891"/>
                  <a:pt x="1285744" y="2274920"/>
                  <a:pt x="1244906" y="2269475"/>
                </a:cubicBezTo>
                <a:cubicBezTo>
                  <a:pt x="1204700" y="2264114"/>
                  <a:pt x="1164116" y="2262130"/>
                  <a:pt x="1123721" y="2258458"/>
                </a:cubicBezTo>
                <a:cubicBezTo>
                  <a:pt x="1075981" y="2243769"/>
                  <a:pt x="1029071" y="2226048"/>
                  <a:pt x="980501" y="2214391"/>
                </a:cubicBezTo>
                <a:cubicBezTo>
                  <a:pt x="937059" y="2203965"/>
                  <a:pt x="890682" y="2206485"/>
                  <a:pt x="848299" y="2192357"/>
                </a:cubicBezTo>
                <a:cubicBezTo>
                  <a:pt x="826265" y="2185012"/>
                  <a:pt x="804605" y="2176434"/>
                  <a:pt x="782198" y="2170323"/>
                </a:cubicBezTo>
                <a:cubicBezTo>
                  <a:pt x="764133" y="2165396"/>
                  <a:pt x="745119" y="2164450"/>
                  <a:pt x="727114" y="2159306"/>
                </a:cubicBezTo>
                <a:cubicBezTo>
                  <a:pt x="693616" y="2149735"/>
                  <a:pt x="661013" y="2137273"/>
                  <a:pt x="627962" y="2126256"/>
                </a:cubicBezTo>
                <a:lnTo>
                  <a:pt x="594911" y="2115239"/>
                </a:lnTo>
                <a:cubicBezTo>
                  <a:pt x="538180" y="2077417"/>
                  <a:pt x="560462" y="2088085"/>
                  <a:pt x="462709" y="2060155"/>
                </a:cubicBezTo>
                <a:cubicBezTo>
                  <a:pt x="411297" y="2045466"/>
                  <a:pt x="360904" y="2026573"/>
                  <a:pt x="308473" y="2016087"/>
                </a:cubicBezTo>
                <a:cubicBezTo>
                  <a:pt x="290111" y="2012415"/>
                  <a:pt x="271634" y="2009280"/>
                  <a:pt x="253388" y="2005070"/>
                </a:cubicBezTo>
                <a:cubicBezTo>
                  <a:pt x="223881" y="1998261"/>
                  <a:pt x="195017" y="1988618"/>
                  <a:pt x="165253" y="1983037"/>
                </a:cubicBezTo>
                <a:cubicBezTo>
                  <a:pt x="136153" y="1977581"/>
                  <a:pt x="106465" y="1975933"/>
                  <a:pt x="77118" y="1972020"/>
                </a:cubicBezTo>
                <a:lnTo>
                  <a:pt x="0" y="1961003"/>
                </a:lnTo>
              </a:path>
            </a:pathLst>
          </a:custGeom>
          <a:noFill/>
          <a:ln w="25400">
            <a:solidFill>
              <a:schemeClr val="accent1"/>
            </a:solidFill>
            <a:prstDash val="dash"/>
            <a:tailEnd type="triangle" w="lg" len="lg"/>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eaLnBrk="0" fontAlgn="base" hangingPunct="0">
              <a:spcBef>
                <a:spcPct val="0"/>
              </a:spcBef>
              <a:spcAft>
                <a:spcPct val="0"/>
              </a:spcAft>
            </a:pPr>
            <a:endParaRPr lang="de-CH" b="1">
              <a:latin typeface="Segoe UI" pitchFamily="-128" charset="0"/>
              <a:ea typeface="ＭＳ Ｐゴシック" pitchFamily="-128" charset="-128"/>
            </a:endParaRPr>
          </a:p>
        </p:txBody>
      </p:sp>
      <p:sp>
        <p:nvSpPr>
          <p:cNvPr id="25" name="Freeform: Shape 24">
            <a:extLst>
              <a:ext uri="{FF2B5EF4-FFF2-40B4-BE49-F238E27FC236}">
                <a16:creationId xmlns:a16="http://schemas.microsoft.com/office/drawing/2014/main" id="{AA7686FC-9442-4D5E-8EEE-252AD9B8D859}"/>
              </a:ext>
            </a:extLst>
          </p:cNvPr>
          <p:cNvSpPr/>
          <p:nvPr/>
        </p:nvSpPr>
        <p:spPr>
          <a:xfrm>
            <a:off x="2071171" y="440675"/>
            <a:ext cx="5519512" cy="3216925"/>
          </a:xfrm>
          <a:custGeom>
            <a:avLst/>
            <a:gdLst>
              <a:gd name="connsiteX0" fmla="*/ 4318612 w 5519512"/>
              <a:gd name="connsiteY0" fmla="*/ 0 h 3216925"/>
              <a:gd name="connsiteX1" fmla="*/ 4472848 w 5519512"/>
              <a:gd name="connsiteY1" fmla="*/ 33050 h 3216925"/>
              <a:gd name="connsiteX2" fmla="*/ 4560983 w 5519512"/>
              <a:gd name="connsiteY2" fmla="*/ 55084 h 3216925"/>
              <a:gd name="connsiteX3" fmla="*/ 4671152 w 5519512"/>
              <a:gd name="connsiteY3" fmla="*/ 88135 h 3216925"/>
              <a:gd name="connsiteX4" fmla="*/ 4902506 w 5519512"/>
              <a:gd name="connsiteY4" fmla="*/ 143219 h 3216925"/>
              <a:gd name="connsiteX5" fmla="*/ 5067759 w 5519512"/>
              <a:gd name="connsiteY5" fmla="*/ 176270 h 3216925"/>
              <a:gd name="connsiteX6" fmla="*/ 5177928 w 5519512"/>
              <a:gd name="connsiteY6" fmla="*/ 220337 h 3216925"/>
              <a:gd name="connsiteX7" fmla="*/ 5210978 w 5519512"/>
              <a:gd name="connsiteY7" fmla="*/ 242371 h 3216925"/>
              <a:gd name="connsiteX8" fmla="*/ 5255046 w 5519512"/>
              <a:gd name="connsiteY8" fmla="*/ 297455 h 3216925"/>
              <a:gd name="connsiteX9" fmla="*/ 5299113 w 5519512"/>
              <a:gd name="connsiteY9" fmla="*/ 407624 h 3216925"/>
              <a:gd name="connsiteX10" fmla="*/ 5321147 w 5519512"/>
              <a:gd name="connsiteY10" fmla="*/ 451691 h 3216925"/>
              <a:gd name="connsiteX11" fmla="*/ 5332164 w 5519512"/>
              <a:gd name="connsiteY11" fmla="*/ 506776 h 3216925"/>
              <a:gd name="connsiteX12" fmla="*/ 5343181 w 5519512"/>
              <a:gd name="connsiteY12" fmla="*/ 594911 h 3216925"/>
              <a:gd name="connsiteX13" fmla="*/ 5365215 w 5519512"/>
              <a:gd name="connsiteY13" fmla="*/ 649995 h 3216925"/>
              <a:gd name="connsiteX14" fmla="*/ 5376231 w 5519512"/>
              <a:gd name="connsiteY14" fmla="*/ 738130 h 3216925"/>
              <a:gd name="connsiteX15" fmla="*/ 5398265 w 5519512"/>
              <a:gd name="connsiteY15" fmla="*/ 826265 h 3216925"/>
              <a:gd name="connsiteX16" fmla="*/ 5420299 w 5519512"/>
              <a:gd name="connsiteY16" fmla="*/ 925417 h 3216925"/>
              <a:gd name="connsiteX17" fmla="*/ 5431316 w 5519512"/>
              <a:gd name="connsiteY17" fmla="*/ 1002535 h 3216925"/>
              <a:gd name="connsiteX18" fmla="*/ 5453349 w 5519512"/>
              <a:gd name="connsiteY18" fmla="*/ 1123720 h 3216925"/>
              <a:gd name="connsiteX19" fmla="*/ 5475383 w 5519512"/>
              <a:gd name="connsiteY19" fmla="*/ 1311007 h 3216925"/>
              <a:gd name="connsiteX20" fmla="*/ 5486400 w 5519512"/>
              <a:gd name="connsiteY20" fmla="*/ 1355074 h 3216925"/>
              <a:gd name="connsiteX21" fmla="*/ 5497417 w 5519512"/>
              <a:gd name="connsiteY21" fmla="*/ 1410159 h 3216925"/>
              <a:gd name="connsiteX22" fmla="*/ 5519451 w 5519512"/>
              <a:gd name="connsiteY22" fmla="*/ 2390660 h 3216925"/>
              <a:gd name="connsiteX23" fmla="*/ 5508434 w 5519512"/>
              <a:gd name="connsiteY23" fmla="*/ 2588964 h 3216925"/>
              <a:gd name="connsiteX24" fmla="*/ 5486400 w 5519512"/>
              <a:gd name="connsiteY24" fmla="*/ 2677098 h 3216925"/>
              <a:gd name="connsiteX25" fmla="*/ 5453349 w 5519512"/>
              <a:gd name="connsiteY25" fmla="*/ 2765233 h 3216925"/>
              <a:gd name="connsiteX26" fmla="*/ 5420299 w 5519512"/>
              <a:gd name="connsiteY26" fmla="*/ 2820318 h 3216925"/>
              <a:gd name="connsiteX27" fmla="*/ 5321147 w 5519512"/>
              <a:gd name="connsiteY27" fmla="*/ 2930486 h 3216925"/>
              <a:gd name="connsiteX28" fmla="*/ 5221995 w 5519512"/>
              <a:gd name="connsiteY28" fmla="*/ 2985571 h 3216925"/>
              <a:gd name="connsiteX29" fmla="*/ 5111827 w 5519512"/>
              <a:gd name="connsiteY29" fmla="*/ 3007605 h 3216925"/>
              <a:gd name="connsiteX30" fmla="*/ 4924540 w 5519512"/>
              <a:gd name="connsiteY30" fmla="*/ 3040655 h 3216925"/>
              <a:gd name="connsiteX31" fmla="*/ 4737253 w 5519512"/>
              <a:gd name="connsiteY31" fmla="*/ 3095739 h 3216925"/>
              <a:gd name="connsiteX32" fmla="*/ 4483865 w 5519512"/>
              <a:gd name="connsiteY32" fmla="*/ 3128790 h 3216925"/>
              <a:gd name="connsiteX33" fmla="*/ 4351663 w 5519512"/>
              <a:gd name="connsiteY33" fmla="*/ 3150824 h 3216925"/>
              <a:gd name="connsiteX34" fmla="*/ 4274545 w 5519512"/>
              <a:gd name="connsiteY34" fmla="*/ 3161841 h 3216925"/>
              <a:gd name="connsiteX35" fmla="*/ 3481330 w 5519512"/>
              <a:gd name="connsiteY35" fmla="*/ 3172858 h 3216925"/>
              <a:gd name="connsiteX36" fmla="*/ 3371162 w 5519512"/>
              <a:gd name="connsiteY36" fmla="*/ 3183874 h 3216925"/>
              <a:gd name="connsiteX37" fmla="*/ 2831335 w 5519512"/>
              <a:gd name="connsiteY37" fmla="*/ 3216925 h 3216925"/>
              <a:gd name="connsiteX38" fmla="*/ 2357610 w 5519512"/>
              <a:gd name="connsiteY38" fmla="*/ 3205908 h 3216925"/>
              <a:gd name="connsiteX39" fmla="*/ 1983036 w 5519512"/>
              <a:gd name="connsiteY39" fmla="*/ 3183874 h 3216925"/>
              <a:gd name="connsiteX40" fmla="*/ 1498294 w 5519512"/>
              <a:gd name="connsiteY40" fmla="*/ 3172858 h 3216925"/>
              <a:gd name="connsiteX41" fmla="*/ 958468 w 5519512"/>
              <a:gd name="connsiteY41" fmla="*/ 3150824 h 3216925"/>
              <a:gd name="connsiteX42" fmla="*/ 672029 w 5519512"/>
              <a:gd name="connsiteY42" fmla="*/ 3139807 h 3216925"/>
              <a:gd name="connsiteX43" fmla="*/ 374574 w 5519512"/>
              <a:gd name="connsiteY43" fmla="*/ 3150824 h 3216925"/>
              <a:gd name="connsiteX44" fmla="*/ 0 w 5519512"/>
              <a:gd name="connsiteY44" fmla="*/ 3161841 h 321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19512" h="3216925">
                <a:moveTo>
                  <a:pt x="4318612" y="0"/>
                </a:moveTo>
                <a:cubicBezTo>
                  <a:pt x="4414578" y="15995"/>
                  <a:pt x="4363050" y="5601"/>
                  <a:pt x="4472848" y="33050"/>
                </a:cubicBezTo>
                <a:cubicBezTo>
                  <a:pt x="4502226" y="40395"/>
                  <a:pt x="4531978" y="46382"/>
                  <a:pt x="4560983" y="55084"/>
                </a:cubicBezTo>
                <a:cubicBezTo>
                  <a:pt x="4597706" y="66101"/>
                  <a:pt x="4634028" y="78555"/>
                  <a:pt x="4671152" y="88135"/>
                </a:cubicBezTo>
                <a:cubicBezTo>
                  <a:pt x="4747911" y="107944"/>
                  <a:pt x="4824772" y="127672"/>
                  <a:pt x="4902506" y="143219"/>
                </a:cubicBezTo>
                <a:lnTo>
                  <a:pt x="5067759" y="176270"/>
                </a:lnTo>
                <a:cubicBezTo>
                  <a:pt x="5142129" y="225848"/>
                  <a:pt x="5049565" y="168991"/>
                  <a:pt x="5177928" y="220337"/>
                </a:cubicBezTo>
                <a:cubicBezTo>
                  <a:pt x="5190221" y="225254"/>
                  <a:pt x="5199961" y="235026"/>
                  <a:pt x="5210978" y="242371"/>
                </a:cubicBezTo>
                <a:cubicBezTo>
                  <a:pt x="5237282" y="321282"/>
                  <a:pt x="5199676" y="231011"/>
                  <a:pt x="5255046" y="297455"/>
                </a:cubicBezTo>
                <a:cubicBezTo>
                  <a:pt x="5279114" y="326337"/>
                  <a:pt x="5283699" y="376796"/>
                  <a:pt x="5299113" y="407624"/>
                </a:cubicBezTo>
                <a:lnTo>
                  <a:pt x="5321147" y="451691"/>
                </a:lnTo>
                <a:cubicBezTo>
                  <a:pt x="5324819" y="470053"/>
                  <a:pt x="5329317" y="488268"/>
                  <a:pt x="5332164" y="506776"/>
                </a:cubicBezTo>
                <a:cubicBezTo>
                  <a:pt x="5336666" y="536039"/>
                  <a:pt x="5336524" y="566062"/>
                  <a:pt x="5343181" y="594911"/>
                </a:cubicBezTo>
                <a:cubicBezTo>
                  <a:pt x="5347628" y="614180"/>
                  <a:pt x="5357870" y="631634"/>
                  <a:pt x="5365215" y="649995"/>
                </a:cubicBezTo>
                <a:cubicBezTo>
                  <a:pt x="5368887" y="679373"/>
                  <a:pt x="5370775" y="709030"/>
                  <a:pt x="5376231" y="738130"/>
                </a:cubicBezTo>
                <a:cubicBezTo>
                  <a:pt x="5381812" y="767894"/>
                  <a:pt x="5391329" y="796787"/>
                  <a:pt x="5398265" y="826265"/>
                </a:cubicBezTo>
                <a:cubicBezTo>
                  <a:pt x="5406020" y="859222"/>
                  <a:pt x="5414059" y="892140"/>
                  <a:pt x="5420299" y="925417"/>
                </a:cubicBezTo>
                <a:cubicBezTo>
                  <a:pt x="5425084" y="950939"/>
                  <a:pt x="5427047" y="976921"/>
                  <a:pt x="5431316" y="1002535"/>
                </a:cubicBezTo>
                <a:cubicBezTo>
                  <a:pt x="5438066" y="1043034"/>
                  <a:pt x="5447259" y="1083117"/>
                  <a:pt x="5453349" y="1123720"/>
                </a:cubicBezTo>
                <a:cubicBezTo>
                  <a:pt x="5466614" y="1212154"/>
                  <a:pt x="5461151" y="1225616"/>
                  <a:pt x="5475383" y="1311007"/>
                </a:cubicBezTo>
                <a:cubicBezTo>
                  <a:pt x="5477872" y="1325942"/>
                  <a:pt x="5483115" y="1340293"/>
                  <a:pt x="5486400" y="1355074"/>
                </a:cubicBezTo>
                <a:cubicBezTo>
                  <a:pt x="5490462" y="1373353"/>
                  <a:pt x="5493745" y="1391797"/>
                  <a:pt x="5497417" y="1410159"/>
                </a:cubicBezTo>
                <a:cubicBezTo>
                  <a:pt x="5504762" y="1736993"/>
                  <a:pt x="5516396" y="2063758"/>
                  <a:pt x="5519451" y="2390660"/>
                </a:cubicBezTo>
                <a:cubicBezTo>
                  <a:pt x="5520070" y="2456860"/>
                  <a:pt x="5516023" y="2523197"/>
                  <a:pt x="5508434" y="2588964"/>
                </a:cubicBezTo>
                <a:cubicBezTo>
                  <a:pt x="5504963" y="2619047"/>
                  <a:pt x="5495976" y="2648370"/>
                  <a:pt x="5486400" y="2677098"/>
                </a:cubicBezTo>
                <a:cubicBezTo>
                  <a:pt x="5476864" y="2705705"/>
                  <a:pt x="5466524" y="2738883"/>
                  <a:pt x="5453349" y="2765233"/>
                </a:cubicBezTo>
                <a:cubicBezTo>
                  <a:pt x="5443773" y="2784385"/>
                  <a:pt x="5431795" y="2802253"/>
                  <a:pt x="5420299" y="2820318"/>
                </a:cubicBezTo>
                <a:cubicBezTo>
                  <a:pt x="5377661" y="2887320"/>
                  <a:pt x="5384058" y="2886448"/>
                  <a:pt x="5321147" y="2930486"/>
                </a:cubicBezTo>
                <a:cubicBezTo>
                  <a:pt x="5311309" y="2937373"/>
                  <a:pt x="5239712" y="2980509"/>
                  <a:pt x="5221995" y="2985571"/>
                </a:cubicBezTo>
                <a:cubicBezTo>
                  <a:pt x="5185986" y="2995859"/>
                  <a:pt x="5147355" y="2995763"/>
                  <a:pt x="5111827" y="3007605"/>
                </a:cubicBezTo>
                <a:cubicBezTo>
                  <a:pt x="5029507" y="3035043"/>
                  <a:pt x="5090272" y="3016979"/>
                  <a:pt x="4924540" y="3040655"/>
                </a:cubicBezTo>
                <a:cubicBezTo>
                  <a:pt x="4862111" y="3059016"/>
                  <a:pt x="4801928" y="3088553"/>
                  <a:pt x="4737253" y="3095739"/>
                </a:cubicBezTo>
                <a:cubicBezTo>
                  <a:pt x="4586485" y="3112491"/>
                  <a:pt x="4671021" y="3102053"/>
                  <a:pt x="4483865" y="3128790"/>
                </a:cubicBezTo>
                <a:cubicBezTo>
                  <a:pt x="4416691" y="3151182"/>
                  <a:pt x="4469736" y="3136065"/>
                  <a:pt x="4351663" y="3150824"/>
                </a:cubicBezTo>
                <a:cubicBezTo>
                  <a:pt x="4325897" y="3154045"/>
                  <a:pt x="4300504" y="3161184"/>
                  <a:pt x="4274545" y="3161841"/>
                </a:cubicBezTo>
                <a:cubicBezTo>
                  <a:pt x="4010199" y="3168533"/>
                  <a:pt x="3745735" y="3169186"/>
                  <a:pt x="3481330" y="3172858"/>
                </a:cubicBezTo>
                <a:cubicBezTo>
                  <a:pt x="3444607" y="3176530"/>
                  <a:pt x="3408042" y="3182482"/>
                  <a:pt x="3371162" y="3183874"/>
                </a:cubicBezTo>
                <a:cubicBezTo>
                  <a:pt x="2849877" y="3203544"/>
                  <a:pt x="3050861" y="3143749"/>
                  <a:pt x="2831335" y="3216925"/>
                </a:cubicBezTo>
                <a:lnTo>
                  <a:pt x="2357610" y="3205908"/>
                </a:lnTo>
                <a:cubicBezTo>
                  <a:pt x="2232631" y="3201039"/>
                  <a:pt x="2108017" y="3188681"/>
                  <a:pt x="1983036" y="3183874"/>
                </a:cubicBezTo>
                <a:cubicBezTo>
                  <a:pt x="1821533" y="3177662"/>
                  <a:pt x="1659832" y="3178069"/>
                  <a:pt x="1498294" y="3172858"/>
                </a:cubicBezTo>
                <a:lnTo>
                  <a:pt x="958468" y="3150824"/>
                </a:lnTo>
                <a:lnTo>
                  <a:pt x="672029" y="3139807"/>
                </a:lnTo>
                <a:lnTo>
                  <a:pt x="374574" y="3150824"/>
                </a:lnTo>
                <a:cubicBezTo>
                  <a:pt x="46646" y="3162330"/>
                  <a:pt x="151998" y="3161841"/>
                  <a:pt x="0" y="3161841"/>
                </a:cubicBezTo>
              </a:path>
            </a:pathLst>
          </a:custGeom>
          <a:noFill/>
          <a:ln w="25400">
            <a:solidFill>
              <a:schemeClr val="accent1"/>
            </a:solidFill>
            <a:prstDash val="dash"/>
            <a:tailEnd type="triangle" w="lg" len="lg"/>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eaLnBrk="0" fontAlgn="base" hangingPunct="0">
              <a:spcBef>
                <a:spcPct val="0"/>
              </a:spcBef>
              <a:spcAft>
                <a:spcPct val="0"/>
              </a:spcAft>
            </a:pPr>
            <a:endParaRPr lang="de-CH" b="1">
              <a:latin typeface="Segoe UI" pitchFamily="-128" charset="0"/>
              <a:ea typeface="ＭＳ Ｐゴシック" pitchFamily="-128" charset="-128"/>
            </a:endParaRPr>
          </a:p>
        </p:txBody>
      </p:sp>
      <p:sp>
        <p:nvSpPr>
          <p:cNvPr id="26" name="Freeform: Shape 25">
            <a:extLst>
              <a:ext uri="{FF2B5EF4-FFF2-40B4-BE49-F238E27FC236}">
                <a16:creationId xmlns:a16="http://schemas.microsoft.com/office/drawing/2014/main" id="{66B6AF60-B485-44C0-8A0A-F168D4AFB571}"/>
              </a:ext>
            </a:extLst>
          </p:cNvPr>
          <p:cNvSpPr/>
          <p:nvPr/>
        </p:nvSpPr>
        <p:spPr>
          <a:xfrm>
            <a:off x="6389783" y="418641"/>
            <a:ext cx="3426246" cy="4252511"/>
          </a:xfrm>
          <a:custGeom>
            <a:avLst/>
            <a:gdLst>
              <a:gd name="connsiteX0" fmla="*/ 0 w 3426246"/>
              <a:gd name="connsiteY0" fmla="*/ 0 h 4252511"/>
              <a:gd name="connsiteX1" fmla="*/ 121186 w 3426246"/>
              <a:gd name="connsiteY1" fmla="*/ 44067 h 4252511"/>
              <a:gd name="connsiteX2" fmla="*/ 154236 w 3426246"/>
              <a:gd name="connsiteY2" fmla="*/ 66101 h 4252511"/>
              <a:gd name="connsiteX3" fmla="*/ 187287 w 3426246"/>
              <a:gd name="connsiteY3" fmla="*/ 77118 h 4252511"/>
              <a:gd name="connsiteX4" fmla="*/ 264405 w 3426246"/>
              <a:gd name="connsiteY4" fmla="*/ 99152 h 4252511"/>
              <a:gd name="connsiteX5" fmla="*/ 352540 w 3426246"/>
              <a:gd name="connsiteY5" fmla="*/ 132202 h 4252511"/>
              <a:gd name="connsiteX6" fmla="*/ 495759 w 3426246"/>
              <a:gd name="connsiteY6" fmla="*/ 176270 h 4252511"/>
              <a:gd name="connsiteX7" fmla="*/ 738130 w 3426246"/>
              <a:gd name="connsiteY7" fmla="*/ 264405 h 4252511"/>
              <a:gd name="connsiteX8" fmla="*/ 859316 w 3426246"/>
              <a:gd name="connsiteY8" fmla="*/ 286439 h 4252511"/>
              <a:gd name="connsiteX9" fmla="*/ 914400 w 3426246"/>
              <a:gd name="connsiteY9" fmla="*/ 330506 h 4252511"/>
              <a:gd name="connsiteX10" fmla="*/ 1002535 w 3426246"/>
              <a:gd name="connsiteY10" fmla="*/ 374573 h 4252511"/>
              <a:gd name="connsiteX11" fmla="*/ 1068636 w 3426246"/>
              <a:gd name="connsiteY11" fmla="*/ 451692 h 4252511"/>
              <a:gd name="connsiteX12" fmla="*/ 1134737 w 3426246"/>
              <a:gd name="connsiteY12" fmla="*/ 550843 h 4252511"/>
              <a:gd name="connsiteX13" fmla="*/ 1178805 w 3426246"/>
              <a:gd name="connsiteY13" fmla="*/ 616945 h 4252511"/>
              <a:gd name="connsiteX14" fmla="*/ 1200839 w 3426246"/>
              <a:gd name="connsiteY14" fmla="*/ 649995 h 4252511"/>
              <a:gd name="connsiteX15" fmla="*/ 1222872 w 3426246"/>
              <a:gd name="connsiteY15" fmla="*/ 694063 h 4252511"/>
              <a:gd name="connsiteX16" fmla="*/ 1266940 w 3426246"/>
              <a:gd name="connsiteY16" fmla="*/ 760164 h 4252511"/>
              <a:gd name="connsiteX17" fmla="*/ 1311007 w 3426246"/>
              <a:gd name="connsiteY17" fmla="*/ 848299 h 4252511"/>
              <a:gd name="connsiteX18" fmla="*/ 1355075 w 3426246"/>
              <a:gd name="connsiteY18" fmla="*/ 914400 h 4252511"/>
              <a:gd name="connsiteX19" fmla="*/ 1399142 w 3426246"/>
              <a:gd name="connsiteY19" fmla="*/ 1013552 h 4252511"/>
              <a:gd name="connsiteX20" fmla="*/ 1432193 w 3426246"/>
              <a:gd name="connsiteY20" fmla="*/ 1101687 h 4252511"/>
              <a:gd name="connsiteX21" fmla="*/ 1476260 w 3426246"/>
              <a:gd name="connsiteY21" fmla="*/ 1167788 h 4252511"/>
              <a:gd name="connsiteX22" fmla="*/ 1487277 w 3426246"/>
              <a:gd name="connsiteY22" fmla="*/ 1211855 h 4252511"/>
              <a:gd name="connsiteX23" fmla="*/ 1498294 w 3426246"/>
              <a:gd name="connsiteY23" fmla="*/ 1266940 h 4252511"/>
              <a:gd name="connsiteX24" fmla="*/ 1509311 w 3426246"/>
              <a:gd name="connsiteY24" fmla="*/ 1299990 h 4252511"/>
              <a:gd name="connsiteX25" fmla="*/ 1531345 w 3426246"/>
              <a:gd name="connsiteY25" fmla="*/ 1421176 h 4252511"/>
              <a:gd name="connsiteX26" fmla="*/ 1542362 w 3426246"/>
              <a:gd name="connsiteY26" fmla="*/ 1454226 h 4252511"/>
              <a:gd name="connsiteX27" fmla="*/ 1553378 w 3426246"/>
              <a:gd name="connsiteY27" fmla="*/ 1498294 h 4252511"/>
              <a:gd name="connsiteX28" fmla="*/ 1575412 w 3426246"/>
              <a:gd name="connsiteY28" fmla="*/ 1784732 h 4252511"/>
              <a:gd name="connsiteX29" fmla="*/ 1586429 w 3426246"/>
              <a:gd name="connsiteY29" fmla="*/ 1817783 h 4252511"/>
              <a:gd name="connsiteX30" fmla="*/ 1608463 w 3426246"/>
              <a:gd name="connsiteY30" fmla="*/ 1894901 h 4252511"/>
              <a:gd name="connsiteX31" fmla="*/ 1619480 w 3426246"/>
              <a:gd name="connsiteY31" fmla="*/ 2016087 h 4252511"/>
              <a:gd name="connsiteX32" fmla="*/ 1641513 w 3426246"/>
              <a:gd name="connsiteY32" fmla="*/ 2104222 h 4252511"/>
              <a:gd name="connsiteX33" fmla="*/ 1652530 w 3426246"/>
              <a:gd name="connsiteY33" fmla="*/ 2159306 h 4252511"/>
              <a:gd name="connsiteX34" fmla="*/ 1674564 w 3426246"/>
              <a:gd name="connsiteY34" fmla="*/ 2258458 h 4252511"/>
              <a:gd name="connsiteX35" fmla="*/ 1685581 w 3426246"/>
              <a:gd name="connsiteY35" fmla="*/ 2302525 h 4252511"/>
              <a:gd name="connsiteX36" fmla="*/ 1707615 w 3426246"/>
              <a:gd name="connsiteY36" fmla="*/ 2335576 h 4252511"/>
              <a:gd name="connsiteX37" fmla="*/ 1729648 w 3426246"/>
              <a:gd name="connsiteY37" fmla="*/ 2467778 h 4252511"/>
              <a:gd name="connsiteX38" fmla="*/ 1751682 w 3426246"/>
              <a:gd name="connsiteY38" fmla="*/ 2533879 h 4252511"/>
              <a:gd name="connsiteX39" fmla="*/ 1762699 w 3426246"/>
              <a:gd name="connsiteY39" fmla="*/ 2566930 h 4252511"/>
              <a:gd name="connsiteX40" fmla="*/ 1773716 w 3426246"/>
              <a:gd name="connsiteY40" fmla="*/ 2599981 h 4252511"/>
              <a:gd name="connsiteX41" fmla="*/ 1795750 w 3426246"/>
              <a:gd name="connsiteY41" fmla="*/ 2633031 h 4252511"/>
              <a:gd name="connsiteX42" fmla="*/ 1828800 w 3426246"/>
              <a:gd name="connsiteY42" fmla="*/ 2732183 h 4252511"/>
              <a:gd name="connsiteX43" fmla="*/ 1883884 w 3426246"/>
              <a:gd name="connsiteY43" fmla="*/ 2809301 h 4252511"/>
              <a:gd name="connsiteX44" fmla="*/ 1916935 w 3426246"/>
              <a:gd name="connsiteY44" fmla="*/ 2864386 h 4252511"/>
              <a:gd name="connsiteX45" fmla="*/ 1961003 w 3426246"/>
              <a:gd name="connsiteY45" fmla="*/ 2897436 h 4252511"/>
              <a:gd name="connsiteX46" fmla="*/ 1983036 w 3426246"/>
              <a:gd name="connsiteY46" fmla="*/ 2930487 h 4252511"/>
              <a:gd name="connsiteX47" fmla="*/ 2016087 w 3426246"/>
              <a:gd name="connsiteY47" fmla="*/ 2974554 h 4252511"/>
              <a:gd name="connsiteX48" fmla="*/ 2027104 w 3426246"/>
              <a:gd name="connsiteY48" fmla="*/ 3007605 h 4252511"/>
              <a:gd name="connsiteX49" fmla="*/ 2060154 w 3426246"/>
              <a:gd name="connsiteY49" fmla="*/ 3040655 h 4252511"/>
              <a:gd name="connsiteX50" fmla="*/ 2082188 w 3426246"/>
              <a:gd name="connsiteY50" fmla="*/ 3084723 h 4252511"/>
              <a:gd name="connsiteX51" fmla="*/ 2192357 w 3426246"/>
              <a:gd name="connsiteY51" fmla="*/ 3183875 h 4252511"/>
              <a:gd name="connsiteX52" fmla="*/ 2258458 w 3426246"/>
              <a:gd name="connsiteY52" fmla="*/ 3238959 h 4252511"/>
              <a:gd name="connsiteX53" fmla="*/ 2280492 w 3426246"/>
              <a:gd name="connsiteY53" fmla="*/ 3272010 h 4252511"/>
              <a:gd name="connsiteX54" fmla="*/ 2335576 w 3426246"/>
              <a:gd name="connsiteY54" fmla="*/ 3338111 h 4252511"/>
              <a:gd name="connsiteX55" fmla="*/ 2401677 w 3426246"/>
              <a:gd name="connsiteY55" fmla="*/ 3448279 h 4252511"/>
              <a:gd name="connsiteX56" fmla="*/ 2423711 w 3426246"/>
              <a:gd name="connsiteY56" fmla="*/ 3481330 h 4252511"/>
              <a:gd name="connsiteX57" fmla="*/ 2489812 w 3426246"/>
              <a:gd name="connsiteY57" fmla="*/ 3547431 h 4252511"/>
              <a:gd name="connsiteX58" fmla="*/ 2522863 w 3426246"/>
              <a:gd name="connsiteY58" fmla="*/ 3569465 h 4252511"/>
              <a:gd name="connsiteX59" fmla="*/ 2555913 w 3426246"/>
              <a:gd name="connsiteY59" fmla="*/ 3602516 h 4252511"/>
              <a:gd name="connsiteX60" fmla="*/ 2633031 w 3426246"/>
              <a:gd name="connsiteY60" fmla="*/ 3635566 h 4252511"/>
              <a:gd name="connsiteX61" fmla="*/ 2655065 w 3426246"/>
              <a:gd name="connsiteY61" fmla="*/ 3668617 h 4252511"/>
              <a:gd name="connsiteX62" fmla="*/ 2732183 w 3426246"/>
              <a:gd name="connsiteY62" fmla="*/ 3723701 h 4252511"/>
              <a:gd name="connsiteX63" fmla="*/ 2754217 w 3426246"/>
              <a:gd name="connsiteY63" fmla="*/ 3778786 h 4252511"/>
              <a:gd name="connsiteX64" fmla="*/ 2820318 w 3426246"/>
              <a:gd name="connsiteY64" fmla="*/ 3822853 h 4252511"/>
              <a:gd name="connsiteX65" fmla="*/ 2919470 w 3426246"/>
              <a:gd name="connsiteY65" fmla="*/ 3877937 h 4252511"/>
              <a:gd name="connsiteX66" fmla="*/ 2941504 w 3426246"/>
              <a:gd name="connsiteY66" fmla="*/ 3910988 h 4252511"/>
              <a:gd name="connsiteX67" fmla="*/ 2974554 w 3426246"/>
              <a:gd name="connsiteY67" fmla="*/ 3922005 h 4252511"/>
              <a:gd name="connsiteX68" fmla="*/ 3040656 w 3426246"/>
              <a:gd name="connsiteY68" fmla="*/ 3966072 h 4252511"/>
              <a:gd name="connsiteX69" fmla="*/ 3073706 w 3426246"/>
              <a:gd name="connsiteY69" fmla="*/ 3988106 h 4252511"/>
              <a:gd name="connsiteX70" fmla="*/ 3106757 w 3426246"/>
              <a:gd name="connsiteY70" fmla="*/ 4010140 h 4252511"/>
              <a:gd name="connsiteX71" fmla="*/ 3194892 w 3426246"/>
              <a:gd name="connsiteY71" fmla="*/ 4087258 h 4252511"/>
              <a:gd name="connsiteX72" fmla="*/ 3227942 w 3426246"/>
              <a:gd name="connsiteY72" fmla="*/ 4120308 h 4252511"/>
              <a:gd name="connsiteX73" fmla="*/ 3260993 w 3426246"/>
              <a:gd name="connsiteY73" fmla="*/ 4131325 h 4252511"/>
              <a:gd name="connsiteX74" fmla="*/ 3316077 w 3426246"/>
              <a:gd name="connsiteY74" fmla="*/ 4153359 h 4252511"/>
              <a:gd name="connsiteX75" fmla="*/ 3338111 w 3426246"/>
              <a:gd name="connsiteY75" fmla="*/ 4186410 h 4252511"/>
              <a:gd name="connsiteX76" fmla="*/ 3404212 w 3426246"/>
              <a:gd name="connsiteY76" fmla="*/ 4230477 h 4252511"/>
              <a:gd name="connsiteX77" fmla="*/ 3426246 w 3426246"/>
              <a:gd name="connsiteY77" fmla="*/ 4252511 h 425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426246" h="4252511">
                <a:moveTo>
                  <a:pt x="0" y="0"/>
                </a:moveTo>
                <a:cubicBezTo>
                  <a:pt x="228788" y="114396"/>
                  <a:pt x="-68987" y="-27246"/>
                  <a:pt x="121186" y="44067"/>
                </a:cubicBezTo>
                <a:cubicBezTo>
                  <a:pt x="133584" y="48716"/>
                  <a:pt x="142393" y="60180"/>
                  <a:pt x="154236" y="66101"/>
                </a:cubicBezTo>
                <a:cubicBezTo>
                  <a:pt x="164623" y="71295"/>
                  <a:pt x="176121" y="73928"/>
                  <a:pt x="187287" y="77118"/>
                </a:cubicBezTo>
                <a:cubicBezTo>
                  <a:pt x="243943" y="93306"/>
                  <a:pt x="215975" y="81541"/>
                  <a:pt x="264405" y="99152"/>
                </a:cubicBezTo>
                <a:cubicBezTo>
                  <a:pt x="293892" y="109874"/>
                  <a:pt x="322774" y="122280"/>
                  <a:pt x="352540" y="132202"/>
                </a:cubicBezTo>
                <a:cubicBezTo>
                  <a:pt x="399925" y="147997"/>
                  <a:pt x="448615" y="159769"/>
                  <a:pt x="495759" y="176270"/>
                </a:cubicBezTo>
                <a:cubicBezTo>
                  <a:pt x="590793" y="209532"/>
                  <a:pt x="619952" y="247522"/>
                  <a:pt x="738130" y="264405"/>
                </a:cubicBezTo>
                <a:cubicBezTo>
                  <a:pt x="830237" y="277563"/>
                  <a:pt x="790056" y="269124"/>
                  <a:pt x="859316" y="286439"/>
                </a:cubicBezTo>
                <a:cubicBezTo>
                  <a:pt x="877677" y="301128"/>
                  <a:pt x="894237" y="318408"/>
                  <a:pt x="914400" y="330506"/>
                </a:cubicBezTo>
                <a:cubicBezTo>
                  <a:pt x="986709" y="373892"/>
                  <a:pt x="949727" y="330567"/>
                  <a:pt x="1002535" y="374573"/>
                </a:cubicBezTo>
                <a:cubicBezTo>
                  <a:pt x="1033225" y="400148"/>
                  <a:pt x="1044321" y="419272"/>
                  <a:pt x="1068636" y="451692"/>
                </a:cubicBezTo>
                <a:cubicBezTo>
                  <a:pt x="1096476" y="535212"/>
                  <a:pt x="1072090" y="503858"/>
                  <a:pt x="1134737" y="550843"/>
                </a:cubicBezTo>
                <a:lnTo>
                  <a:pt x="1178805" y="616945"/>
                </a:lnTo>
                <a:cubicBezTo>
                  <a:pt x="1186150" y="627962"/>
                  <a:pt x="1194918" y="638152"/>
                  <a:pt x="1200839" y="649995"/>
                </a:cubicBezTo>
                <a:cubicBezTo>
                  <a:pt x="1208183" y="664684"/>
                  <a:pt x="1214422" y="679980"/>
                  <a:pt x="1222872" y="694063"/>
                </a:cubicBezTo>
                <a:cubicBezTo>
                  <a:pt x="1236496" y="716771"/>
                  <a:pt x="1255097" y="736478"/>
                  <a:pt x="1266940" y="760164"/>
                </a:cubicBezTo>
                <a:cubicBezTo>
                  <a:pt x="1281629" y="789542"/>
                  <a:pt x="1292787" y="820970"/>
                  <a:pt x="1311007" y="848299"/>
                </a:cubicBezTo>
                <a:cubicBezTo>
                  <a:pt x="1325696" y="870333"/>
                  <a:pt x="1346701" y="889278"/>
                  <a:pt x="1355075" y="914400"/>
                </a:cubicBezTo>
                <a:cubicBezTo>
                  <a:pt x="1381296" y="993062"/>
                  <a:pt x="1364226" y="961176"/>
                  <a:pt x="1399142" y="1013552"/>
                </a:cubicBezTo>
                <a:cubicBezTo>
                  <a:pt x="1410348" y="1058377"/>
                  <a:pt x="1407503" y="1060536"/>
                  <a:pt x="1432193" y="1101687"/>
                </a:cubicBezTo>
                <a:cubicBezTo>
                  <a:pt x="1445817" y="1124394"/>
                  <a:pt x="1476260" y="1167788"/>
                  <a:pt x="1476260" y="1167788"/>
                </a:cubicBezTo>
                <a:cubicBezTo>
                  <a:pt x="1479932" y="1182477"/>
                  <a:pt x="1483992" y="1197074"/>
                  <a:pt x="1487277" y="1211855"/>
                </a:cubicBezTo>
                <a:cubicBezTo>
                  <a:pt x="1491339" y="1230134"/>
                  <a:pt x="1493752" y="1248774"/>
                  <a:pt x="1498294" y="1266940"/>
                </a:cubicBezTo>
                <a:cubicBezTo>
                  <a:pt x="1501111" y="1278206"/>
                  <a:pt x="1506494" y="1288724"/>
                  <a:pt x="1509311" y="1299990"/>
                </a:cubicBezTo>
                <a:cubicBezTo>
                  <a:pt x="1529360" y="1380187"/>
                  <a:pt x="1511701" y="1332778"/>
                  <a:pt x="1531345" y="1421176"/>
                </a:cubicBezTo>
                <a:cubicBezTo>
                  <a:pt x="1533864" y="1432512"/>
                  <a:pt x="1539172" y="1443060"/>
                  <a:pt x="1542362" y="1454226"/>
                </a:cubicBezTo>
                <a:cubicBezTo>
                  <a:pt x="1546522" y="1468785"/>
                  <a:pt x="1549706" y="1483605"/>
                  <a:pt x="1553378" y="1498294"/>
                </a:cubicBezTo>
                <a:cubicBezTo>
                  <a:pt x="1556780" y="1552724"/>
                  <a:pt x="1564754" y="1715456"/>
                  <a:pt x="1575412" y="1784732"/>
                </a:cubicBezTo>
                <a:cubicBezTo>
                  <a:pt x="1577178" y="1796210"/>
                  <a:pt x="1583239" y="1806617"/>
                  <a:pt x="1586429" y="1817783"/>
                </a:cubicBezTo>
                <a:cubicBezTo>
                  <a:pt x="1614093" y="1914609"/>
                  <a:pt x="1582050" y="1815665"/>
                  <a:pt x="1608463" y="1894901"/>
                </a:cubicBezTo>
                <a:cubicBezTo>
                  <a:pt x="1612135" y="1935296"/>
                  <a:pt x="1614449" y="1975838"/>
                  <a:pt x="1619480" y="2016087"/>
                </a:cubicBezTo>
                <a:cubicBezTo>
                  <a:pt x="1629630" y="2097286"/>
                  <a:pt x="1626526" y="2044273"/>
                  <a:pt x="1641513" y="2104222"/>
                </a:cubicBezTo>
                <a:cubicBezTo>
                  <a:pt x="1646054" y="2122388"/>
                  <a:pt x="1649180" y="2140883"/>
                  <a:pt x="1652530" y="2159306"/>
                </a:cubicBezTo>
                <a:cubicBezTo>
                  <a:pt x="1677382" y="2295989"/>
                  <a:pt x="1650283" y="2173477"/>
                  <a:pt x="1674564" y="2258458"/>
                </a:cubicBezTo>
                <a:cubicBezTo>
                  <a:pt x="1678724" y="2273017"/>
                  <a:pt x="1679617" y="2288608"/>
                  <a:pt x="1685581" y="2302525"/>
                </a:cubicBezTo>
                <a:cubicBezTo>
                  <a:pt x="1690797" y="2314695"/>
                  <a:pt x="1700270" y="2324559"/>
                  <a:pt x="1707615" y="2335576"/>
                </a:cubicBezTo>
                <a:cubicBezTo>
                  <a:pt x="1712345" y="2368686"/>
                  <a:pt x="1719981" y="2432333"/>
                  <a:pt x="1729648" y="2467778"/>
                </a:cubicBezTo>
                <a:cubicBezTo>
                  <a:pt x="1735759" y="2490185"/>
                  <a:pt x="1744337" y="2511845"/>
                  <a:pt x="1751682" y="2533879"/>
                </a:cubicBezTo>
                <a:lnTo>
                  <a:pt x="1762699" y="2566930"/>
                </a:lnTo>
                <a:cubicBezTo>
                  <a:pt x="1766371" y="2577947"/>
                  <a:pt x="1767274" y="2590319"/>
                  <a:pt x="1773716" y="2599981"/>
                </a:cubicBezTo>
                <a:lnTo>
                  <a:pt x="1795750" y="2633031"/>
                </a:lnTo>
                <a:cubicBezTo>
                  <a:pt x="1806767" y="2666082"/>
                  <a:pt x="1807897" y="2704312"/>
                  <a:pt x="1828800" y="2732183"/>
                </a:cubicBezTo>
                <a:cubicBezTo>
                  <a:pt x="1853043" y="2764507"/>
                  <a:pt x="1863746" y="2777080"/>
                  <a:pt x="1883884" y="2809301"/>
                </a:cubicBezTo>
                <a:cubicBezTo>
                  <a:pt x="1895233" y="2827459"/>
                  <a:pt x="1902834" y="2848271"/>
                  <a:pt x="1916935" y="2864386"/>
                </a:cubicBezTo>
                <a:cubicBezTo>
                  <a:pt x="1929026" y="2878204"/>
                  <a:pt x="1946314" y="2886419"/>
                  <a:pt x="1961003" y="2897436"/>
                </a:cubicBezTo>
                <a:cubicBezTo>
                  <a:pt x="1968347" y="2908453"/>
                  <a:pt x="1975340" y="2919713"/>
                  <a:pt x="1983036" y="2930487"/>
                </a:cubicBezTo>
                <a:cubicBezTo>
                  <a:pt x="1993708" y="2945428"/>
                  <a:pt x="2006977" y="2958612"/>
                  <a:pt x="2016087" y="2974554"/>
                </a:cubicBezTo>
                <a:cubicBezTo>
                  <a:pt x="2021849" y="2984637"/>
                  <a:pt x="2020662" y="2997942"/>
                  <a:pt x="2027104" y="3007605"/>
                </a:cubicBezTo>
                <a:cubicBezTo>
                  <a:pt x="2035746" y="3020568"/>
                  <a:pt x="2051098" y="3027977"/>
                  <a:pt x="2060154" y="3040655"/>
                </a:cubicBezTo>
                <a:cubicBezTo>
                  <a:pt x="2069700" y="3054019"/>
                  <a:pt x="2071788" y="3072012"/>
                  <a:pt x="2082188" y="3084723"/>
                </a:cubicBezTo>
                <a:cubicBezTo>
                  <a:pt x="2193732" y="3221055"/>
                  <a:pt x="2119929" y="3123519"/>
                  <a:pt x="2192357" y="3183875"/>
                </a:cubicBezTo>
                <a:cubicBezTo>
                  <a:pt x="2277184" y="3254564"/>
                  <a:pt x="2176398" y="3184252"/>
                  <a:pt x="2258458" y="3238959"/>
                </a:cubicBezTo>
                <a:cubicBezTo>
                  <a:pt x="2265803" y="3249976"/>
                  <a:pt x="2272015" y="3261838"/>
                  <a:pt x="2280492" y="3272010"/>
                </a:cubicBezTo>
                <a:cubicBezTo>
                  <a:pt x="2321922" y="3321726"/>
                  <a:pt x="2305735" y="3285890"/>
                  <a:pt x="2335576" y="3338111"/>
                </a:cubicBezTo>
                <a:cubicBezTo>
                  <a:pt x="2403330" y="3456680"/>
                  <a:pt x="2293874" y="3286574"/>
                  <a:pt x="2401677" y="3448279"/>
                </a:cubicBezTo>
                <a:cubicBezTo>
                  <a:pt x="2409022" y="3459296"/>
                  <a:pt x="2414348" y="3471967"/>
                  <a:pt x="2423711" y="3481330"/>
                </a:cubicBezTo>
                <a:cubicBezTo>
                  <a:pt x="2445745" y="3503364"/>
                  <a:pt x="2463885" y="3530146"/>
                  <a:pt x="2489812" y="3547431"/>
                </a:cubicBezTo>
                <a:cubicBezTo>
                  <a:pt x="2500829" y="3554776"/>
                  <a:pt x="2512691" y="3560988"/>
                  <a:pt x="2522863" y="3569465"/>
                </a:cubicBezTo>
                <a:cubicBezTo>
                  <a:pt x="2534832" y="3579439"/>
                  <a:pt x="2543235" y="3593460"/>
                  <a:pt x="2555913" y="3602516"/>
                </a:cubicBezTo>
                <a:cubicBezTo>
                  <a:pt x="2579733" y="3619530"/>
                  <a:pt x="2606062" y="3626576"/>
                  <a:pt x="2633031" y="3635566"/>
                </a:cubicBezTo>
                <a:cubicBezTo>
                  <a:pt x="2640376" y="3646583"/>
                  <a:pt x="2645702" y="3659254"/>
                  <a:pt x="2655065" y="3668617"/>
                </a:cubicBezTo>
                <a:cubicBezTo>
                  <a:pt x="2668725" y="3682276"/>
                  <a:pt x="2713421" y="3711193"/>
                  <a:pt x="2732183" y="3723701"/>
                </a:cubicBezTo>
                <a:cubicBezTo>
                  <a:pt x="2739528" y="3742063"/>
                  <a:pt x="2741078" y="3764005"/>
                  <a:pt x="2754217" y="3778786"/>
                </a:cubicBezTo>
                <a:cubicBezTo>
                  <a:pt x="2771810" y="3798578"/>
                  <a:pt x="2798284" y="3808164"/>
                  <a:pt x="2820318" y="3822853"/>
                </a:cubicBezTo>
                <a:cubicBezTo>
                  <a:pt x="2873867" y="3858552"/>
                  <a:pt x="2841524" y="3838965"/>
                  <a:pt x="2919470" y="3877937"/>
                </a:cubicBezTo>
                <a:cubicBezTo>
                  <a:pt x="2926815" y="3888954"/>
                  <a:pt x="2931165" y="3902716"/>
                  <a:pt x="2941504" y="3910988"/>
                </a:cubicBezTo>
                <a:cubicBezTo>
                  <a:pt x="2950572" y="3918242"/>
                  <a:pt x="2964403" y="3916365"/>
                  <a:pt x="2974554" y="3922005"/>
                </a:cubicBezTo>
                <a:cubicBezTo>
                  <a:pt x="2997703" y="3934865"/>
                  <a:pt x="3018622" y="3951383"/>
                  <a:pt x="3040656" y="3966072"/>
                </a:cubicBezTo>
                <a:lnTo>
                  <a:pt x="3073706" y="3988106"/>
                </a:lnTo>
                <a:lnTo>
                  <a:pt x="3106757" y="4010140"/>
                </a:lnTo>
                <a:cubicBezTo>
                  <a:pt x="3149411" y="4074122"/>
                  <a:pt x="3105910" y="4018050"/>
                  <a:pt x="3194892" y="4087258"/>
                </a:cubicBezTo>
                <a:cubicBezTo>
                  <a:pt x="3207190" y="4096823"/>
                  <a:pt x="3214979" y="4111666"/>
                  <a:pt x="3227942" y="4120308"/>
                </a:cubicBezTo>
                <a:cubicBezTo>
                  <a:pt x="3237605" y="4126750"/>
                  <a:pt x="3250119" y="4127247"/>
                  <a:pt x="3260993" y="4131325"/>
                </a:cubicBezTo>
                <a:cubicBezTo>
                  <a:pt x="3279510" y="4138269"/>
                  <a:pt x="3297716" y="4146014"/>
                  <a:pt x="3316077" y="4153359"/>
                </a:cubicBezTo>
                <a:cubicBezTo>
                  <a:pt x="3323422" y="4164376"/>
                  <a:pt x="3328146" y="4177691"/>
                  <a:pt x="3338111" y="4186410"/>
                </a:cubicBezTo>
                <a:cubicBezTo>
                  <a:pt x="3358040" y="4203848"/>
                  <a:pt x="3385487" y="4211752"/>
                  <a:pt x="3404212" y="4230477"/>
                </a:cubicBezTo>
                <a:lnTo>
                  <a:pt x="3426246" y="4252511"/>
                </a:lnTo>
              </a:path>
            </a:pathLst>
          </a:custGeom>
          <a:noFill/>
          <a:ln w="25400">
            <a:solidFill>
              <a:schemeClr val="accent1"/>
            </a:solidFill>
            <a:prstDash val="dash"/>
            <a:tailEnd type="triangle" w="lg" len="lg"/>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eaLnBrk="0" fontAlgn="base" hangingPunct="0">
              <a:spcBef>
                <a:spcPct val="0"/>
              </a:spcBef>
              <a:spcAft>
                <a:spcPct val="0"/>
              </a:spcAft>
            </a:pPr>
            <a:endParaRPr lang="de-CH" b="1">
              <a:latin typeface="Segoe UI" pitchFamily="-128" charset="0"/>
              <a:ea typeface="ＭＳ Ｐゴシック" pitchFamily="-128" charset="-128"/>
            </a:endParaRPr>
          </a:p>
        </p:txBody>
      </p:sp>
      <p:sp>
        <p:nvSpPr>
          <p:cNvPr id="27" name="Freeform: Shape 26">
            <a:extLst>
              <a:ext uri="{FF2B5EF4-FFF2-40B4-BE49-F238E27FC236}">
                <a16:creationId xmlns:a16="http://schemas.microsoft.com/office/drawing/2014/main" id="{D2859C9D-5C9D-492F-9914-485B0E0935BA}"/>
              </a:ext>
            </a:extLst>
          </p:cNvPr>
          <p:cNvSpPr/>
          <p:nvPr/>
        </p:nvSpPr>
        <p:spPr>
          <a:xfrm>
            <a:off x="2016087" y="3866920"/>
            <a:ext cx="7755874" cy="2137284"/>
          </a:xfrm>
          <a:custGeom>
            <a:avLst/>
            <a:gdLst>
              <a:gd name="connsiteX0" fmla="*/ 0 w 7755874"/>
              <a:gd name="connsiteY0" fmla="*/ 0 h 2137284"/>
              <a:gd name="connsiteX1" fmla="*/ 132202 w 7755874"/>
              <a:gd name="connsiteY1" fmla="*/ 22034 h 2137284"/>
              <a:gd name="connsiteX2" fmla="*/ 198303 w 7755874"/>
              <a:gd name="connsiteY2" fmla="*/ 44068 h 2137284"/>
              <a:gd name="connsiteX3" fmla="*/ 231354 w 7755874"/>
              <a:gd name="connsiteY3" fmla="*/ 55085 h 2137284"/>
              <a:gd name="connsiteX4" fmla="*/ 275421 w 7755874"/>
              <a:gd name="connsiteY4" fmla="*/ 66102 h 2137284"/>
              <a:gd name="connsiteX5" fmla="*/ 319489 w 7755874"/>
              <a:gd name="connsiteY5" fmla="*/ 88135 h 2137284"/>
              <a:gd name="connsiteX6" fmla="*/ 385590 w 7755874"/>
              <a:gd name="connsiteY6" fmla="*/ 132203 h 2137284"/>
              <a:gd name="connsiteX7" fmla="*/ 429658 w 7755874"/>
              <a:gd name="connsiteY7" fmla="*/ 143220 h 2137284"/>
              <a:gd name="connsiteX8" fmla="*/ 495759 w 7755874"/>
              <a:gd name="connsiteY8" fmla="*/ 187287 h 2137284"/>
              <a:gd name="connsiteX9" fmla="*/ 528809 w 7755874"/>
              <a:gd name="connsiteY9" fmla="*/ 198304 h 2137284"/>
              <a:gd name="connsiteX10" fmla="*/ 561860 w 7755874"/>
              <a:gd name="connsiteY10" fmla="*/ 220338 h 2137284"/>
              <a:gd name="connsiteX11" fmla="*/ 627961 w 7755874"/>
              <a:gd name="connsiteY11" fmla="*/ 242372 h 2137284"/>
              <a:gd name="connsiteX12" fmla="*/ 672029 w 7755874"/>
              <a:gd name="connsiteY12" fmla="*/ 264405 h 2137284"/>
              <a:gd name="connsiteX13" fmla="*/ 705079 w 7755874"/>
              <a:gd name="connsiteY13" fmla="*/ 275422 h 2137284"/>
              <a:gd name="connsiteX14" fmla="*/ 771180 w 7755874"/>
              <a:gd name="connsiteY14" fmla="*/ 319490 h 2137284"/>
              <a:gd name="connsiteX15" fmla="*/ 859315 w 7755874"/>
              <a:gd name="connsiteY15" fmla="*/ 363557 h 2137284"/>
              <a:gd name="connsiteX16" fmla="*/ 903383 w 7755874"/>
              <a:gd name="connsiteY16" fmla="*/ 385591 h 2137284"/>
              <a:gd name="connsiteX17" fmla="*/ 958467 w 7755874"/>
              <a:gd name="connsiteY17" fmla="*/ 418641 h 2137284"/>
              <a:gd name="connsiteX18" fmla="*/ 1035585 w 7755874"/>
              <a:gd name="connsiteY18" fmla="*/ 440675 h 2137284"/>
              <a:gd name="connsiteX19" fmla="*/ 1112703 w 7755874"/>
              <a:gd name="connsiteY19" fmla="*/ 473726 h 2137284"/>
              <a:gd name="connsiteX20" fmla="*/ 1211855 w 7755874"/>
              <a:gd name="connsiteY20" fmla="*/ 528810 h 2137284"/>
              <a:gd name="connsiteX21" fmla="*/ 1432193 w 7755874"/>
              <a:gd name="connsiteY21" fmla="*/ 550844 h 2137284"/>
              <a:gd name="connsiteX22" fmla="*/ 1542361 w 7755874"/>
              <a:gd name="connsiteY22" fmla="*/ 561861 h 2137284"/>
              <a:gd name="connsiteX23" fmla="*/ 1674564 w 7755874"/>
              <a:gd name="connsiteY23" fmla="*/ 572878 h 2137284"/>
              <a:gd name="connsiteX24" fmla="*/ 1994053 w 7755874"/>
              <a:gd name="connsiteY24" fmla="*/ 605928 h 2137284"/>
              <a:gd name="connsiteX25" fmla="*/ 2214390 w 7755874"/>
              <a:gd name="connsiteY25" fmla="*/ 594911 h 2137284"/>
              <a:gd name="connsiteX26" fmla="*/ 2247441 w 7755874"/>
              <a:gd name="connsiteY26" fmla="*/ 572878 h 2137284"/>
              <a:gd name="connsiteX27" fmla="*/ 2335576 w 7755874"/>
              <a:gd name="connsiteY27" fmla="*/ 418641 h 2137284"/>
              <a:gd name="connsiteX28" fmla="*/ 2324559 w 7755874"/>
              <a:gd name="connsiteY28" fmla="*/ 297456 h 2137284"/>
              <a:gd name="connsiteX29" fmla="*/ 2192356 w 7755874"/>
              <a:gd name="connsiteY29" fmla="*/ 253388 h 2137284"/>
              <a:gd name="connsiteX30" fmla="*/ 2060154 w 7755874"/>
              <a:gd name="connsiteY30" fmla="*/ 209321 h 2137284"/>
              <a:gd name="connsiteX31" fmla="*/ 1795749 w 7755874"/>
              <a:gd name="connsiteY31" fmla="*/ 220338 h 2137284"/>
              <a:gd name="connsiteX32" fmla="*/ 1740665 w 7755874"/>
              <a:gd name="connsiteY32" fmla="*/ 253388 h 2137284"/>
              <a:gd name="connsiteX33" fmla="*/ 1674564 w 7755874"/>
              <a:gd name="connsiteY33" fmla="*/ 286439 h 2137284"/>
              <a:gd name="connsiteX34" fmla="*/ 1652530 w 7755874"/>
              <a:gd name="connsiteY34" fmla="*/ 319490 h 2137284"/>
              <a:gd name="connsiteX35" fmla="*/ 1608462 w 7755874"/>
              <a:gd name="connsiteY35" fmla="*/ 341523 h 2137284"/>
              <a:gd name="connsiteX36" fmla="*/ 1575412 w 7755874"/>
              <a:gd name="connsiteY36" fmla="*/ 418641 h 2137284"/>
              <a:gd name="connsiteX37" fmla="*/ 1564395 w 7755874"/>
              <a:gd name="connsiteY37" fmla="*/ 495760 h 2137284"/>
              <a:gd name="connsiteX38" fmla="*/ 1608462 w 7755874"/>
              <a:gd name="connsiteY38" fmla="*/ 672029 h 2137284"/>
              <a:gd name="connsiteX39" fmla="*/ 1630496 w 7755874"/>
              <a:gd name="connsiteY39" fmla="*/ 727114 h 2137284"/>
              <a:gd name="connsiteX40" fmla="*/ 1663547 w 7755874"/>
              <a:gd name="connsiteY40" fmla="*/ 771181 h 2137284"/>
              <a:gd name="connsiteX41" fmla="*/ 1685580 w 7755874"/>
              <a:gd name="connsiteY41" fmla="*/ 804232 h 2137284"/>
              <a:gd name="connsiteX42" fmla="*/ 1828800 w 7755874"/>
              <a:gd name="connsiteY42" fmla="*/ 936434 h 2137284"/>
              <a:gd name="connsiteX43" fmla="*/ 1927952 w 7755874"/>
              <a:gd name="connsiteY43" fmla="*/ 980502 h 2137284"/>
              <a:gd name="connsiteX44" fmla="*/ 2016086 w 7755874"/>
              <a:gd name="connsiteY44" fmla="*/ 1057620 h 2137284"/>
              <a:gd name="connsiteX45" fmla="*/ 2181340 w 7755874"/>
              <a:gd name="connsiteY45" fmla="*/ 1222873 h 2137284"/>
              <a:gd name="connsiteX46" fmla="*/ 2236424 w 7755874"/>
              <a:gd name="connsiteY46" fmla="*/ 1266940 h 2137284"/>
              <a:gd name="connsiteX47" fmla="*/ 2588964 w 7755874"/>
              <a:gd name="connsiteY47" fmla="*/ 1366092 h 2137284"/>
              <a:gd name="connsiteX48" fmla="*/ 2820318 w 7755874"/>
              <a:gd name="connsiteY48" fmla="*/ 1421176 h 2137284"/>
              <a:gd name="connsiteX49" fmla="*/ 3029638 w 7755874"/>
              <a:gd name="connsiteY49" fmla="*/ 1498294 h 2137284"/>
              <a:gd name="connsiteX50" fmla="*/ 3227942 w 7755874"/>
              <a:gd name="connsiteY50" fmla="*/ 1553379 h 2137284"/>
              <a:gd name="connsiteX51" fmla="*/ 3305060 w 7755874"/>
              <a:gd name="connsiteY51" fmla="*/ 1586429 h 2137284"/>
              <a:gd name="connsiteX52" fmla="*/ 3481330 w 7755874"/>
              <a:gd name="connsiteY52" fmla="*/ 1663547 h 2137284"/>
              <a:gd name="connsiteX53" fmla="*/ 3712684 w 7755874"/>
              <a:gd name="connsiteY53" fmla="*/ 1740666 h 2137284"/>
              <a:gd name="connsiteX54" fmla="*/ 3866920 w 7755874"/>
              <a:gd name="connsiteY54" fmla="*/ 1773716 h 2137284"/>
              <a:gd name="connsiteX55" fmla="*/ 3955055 w 7755874"/>
              <a:gd name="connsiteY55" fmla="*/ 1784733 h 2137284"/>
              <a:gd name="connsiteX56" fmla="*/ 4021156 w 7755874"/>
              <a:gd name="connsiteY56" fmla="*/ 1795750 h 2137284"/>
              <a:gd name="connsiteX57" fmla="*/ 4560983 w 7755874"/>
              <a:gd name="connsiteY57" fmla="*/ 1894902 h 2137284"/>
              <a:gd name="connsiteX58" fmla="*/ 4968607 w 7755874"/>
              <a:gd name="connsiteY58" fmla="*/ 1949986 h 2137284"/>
              <a:gd name="connsiteX59" fmla="*/ 5475383 w 7755874"/>
              <a:gd name="connsiteY59" fmla="*/ 2038121 h 2137284"/>
              <a:gd name="connsiteX60" fmla="*/ 5717754 w 7755874"/>
              <a:gd name="connsiteY60" fmla="*/ 2049138 h 2137284"/>
              <a:gd name="connsiteX61" fmla="*/ 5894024 w 7755874"/>
              <a:gd name="connsiteY61" fmla="*/ 2093205 h 2137284"/>
              <a:gd name="connsiteX62" fmla="*/ 6444867 w 7755874"/>
              <a:gd name="connsiteY62" fmla="*/ 2104222 h 2137284"/>
              <a:gd name="connsiteX63" fmla="*/ 6698255 w 7755874"/>
              <a:gd name="connsiteY63" fmla="*/ 2137273 h 2137284"/>
              <a:gd name="connsiteX64" fmla="*/ 7105879 w 7755874"/>
              <a:gd name="connsiteY64" fmla="*/ 2115239 h 2137284"/>
              <a:gd name="connsiteX65" fmla="*/ 7138930 w 7755874"/>
              <a:gd name="connsiteY65" fmla="*/ 2104222 h 2137284"/>
              <a:gd name="connsiteX66" fmla="*/ 7755874 w 7755874"/>
              <a:gd name="connsiteY66" fmla="*/ 2115239 h 213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755874" h="2137284">
                <a:moveTo>
                  <a:pt x="0" y="0"/>
                </a:moveTo>
                <a:cubicBezTo>
                  <a:pt x="44067" y="7345"/>
                  <a:pt x="89819" y="7906"/>
                  <a:pt x="132202" y="22034"/>
                </a:cubicBezTo>
                <a:lnTo>
                  <a:pt x="198303" y="44068"/>
                </a:lnTo>
                <a:cubicBezTo>
                  <a:pt x="209320" y="47740"/>
                  <a:pt x="220088" y="52268"/>
                  <a:pt x="231354" y="55085"/>
                </a:cubicBezTo>
                <a:cubicBezTo>
                  <a:pt x="246043" y="58757"/>
                  <a:pt x="261244" y="60786"/>
                  <a:pt x="275421" y="66102"/>
                </a:cubicBezTo>
                <a:cubicBezTo>
                  <a:pt x="290798" y="71868"/>
                  <a:pt x="305406" y="79685"/>
                  <a:pt x="319489" y="88135"/>
                </a:cubicBezTo>
                <a:cubicBezTo>
                  <a:pt x="342197" y="101759"/>
                  <a:pt x="359899" y="125780"/>
                  <a:pt x="385590" y="132203"/>
                </a:cubicBezTo>
                <a:lnTo>
                  <a:pt x="429658" y="143220"/>
                </a:lnTo>
                <a:cubicBezTo>
                  <a:pt x="451692" y="157909"/>
                  <a:pt x="470637" y="178913"/>
                  <a:pt x="495759" y="187287"/>
                </a:cubicBezTo>
                <a:cubicBezTo>
                  <a:pt x="506776" y="190959"/>
                  <a:pt x="518422" y="193111"/>
                  <a:pt x="528809" y="198304"/>
                </a:cubicBezTo>
                <a:cubicBezTo>
                  <a:pt x="540652" y="204226"/>
                  <a:pt x="549760" y="214960"/>
                  <a:pt x="561860" y="220338"/>
                </a:cubicBezTo>
                <a:cubicBezTo>
                  <a:pt x="583084" y="229771"/>
                  <a:pt x="607187" y="231986"/>
                  <a:pt x="627961" y="242372"/>
                </a:cubicBezTo>
                <a:cubicBezTo>
                  <a:pt x="642650" y="249716"/>
                  <a:pt x="656934" y="257936"/>
                  <a:pt x="672029" y="264405"/>
                </a:cubicBezTo>
                <a:cubicBezTo>
                  <a:pt x="682703" y="268979"/>
                  <a:pt x="694928" y="269782"/>
                  <a:pt x="705079" y="275422"/>
                </a:cubicBezTo>
                <a:cubicBezTo>
                  <a:pt x="728228" y="288283"/>
                  <a:pt x="747494" y="307647"/>
                  <a:pt x="771180" y="319490"/>
                </a:cubicBezTo>
                <a:lnTo>
                  <a:pt x="859315" y="363557"/>
                </a:lnTo>
                <a:cubicBezTo>
                  <a:pt x="874004" y="370902"/>
                  <a:pt x="889300" y="377141"/>
                  <a:pt x="903383" y="385591"/>
                </a:cubicBezTo>
                <a:cubicBezTo>
                  <a:pt x="921744" y="396608"/>
                  <a:pt x="939315" y="409065"/>
                  <a:pt x="958467" y="418641"/>
                </a:cubicBezTo>
                <a:cubicBezTo>
                  <a:pt x="974272" y="426543"/>
                  <a:pt x="1021466" y="437145"/>
                  <a:pt x="1035585" y="440675"/>
                </a:cubicBezTo>
                <a:cubicBezTo>
                  <a:pt x="1124779" y="500138"/>
                  <a:pt x="1005996" y="426301"/>
                  <a:pt x="1112703" y="473726"/>
                </a:cubicBezTo>
                <a:cubicBezTo>
                  <a:pt x="1128355" y="480682"/>
                  <a:pt x="1189680" y="523693"/>
                  <a:pt x="1211855" y="528810"/>
                </a:cubicBezTo>
                <a:cubicBezTo>
                  <a:pt x="1232230" y="533512"/>
                  <a:pt x="1423152" y="549983"/>
                  <a:pt x="1432193" y="550844"/>
                </a:cubicBezTo>
                <a:lnTo>
                  <a:pt x="1542361" y="561861"/>
                </a:lnTo>
                <a:lnTo>
                  <a:pt x="1674564" y="572878"/>
                </a:lnTo>
                <a:lnTo>
                  <a:pt x="1994053" y="605928"/>
                </a:lnTo>
                <a:cubicBezTo>
                  <a:pt x="2067499" y="602256"/>
                  <a:pt x="2141470" y="604422"/>
                  <a:pt x="2214390" y="594911"/>
                </a:cubicBezTo>
                <a:cubicBezTo>
                  <a:pt x="2227519" y="593199"/>
                  <a:pt x="2239057" y="583126"/>
                  <a:pt x="2247441" y="572878"/>
                </a:cubicBezTo>
                <a:cubicBezTo>
                  <a:pt x="2307756" y="499160"/>
                  <a:pt x="2307132" y="489752"/>
                  <a:pt x="2335576" y="418641"/>
                </a:cubicBezTo>
                <a:cubicBezTo>
                  <a:pt x="2331904" y="378246"/>
                  <a:pt x="2340537" y="334738"/>
                  <a:pt x="2324559" y="297456"/>
                </a:cubicBezTo>
                <a:cubicBezTo>
                  <a:pt x="2308416" y="259789"/>
                  <a:pt x="2216447" y="256830"/>
                  <a:pt x="2192356" y="253388"/>
                </a:cubicBezTo>
                <a:cubicBezTo>
                  <a:pt x="2161462" y="241031"/>
                  <a:pt x="2090027" y="210285"/>
                  <a:pt x="2060154" y="209321"/>
                </a:cubicBezTo>
                <a:lnTo>
                  <a:pt x="1795749" y="220338"/>
                </a:lnTo>
                <a:cubicBezTo>
                  <a:pt x="1777388" y="231355"/>
                  <a:pt x="1759463" y="243134"/>
                  <a:pt x="1740665" y="253388"/>
                </a:cubicBezTo>
                <a:cubicBezTo>
                  <a:pt x="1719039" y="265184"/>
                  <a:pt x="1694271" y="271658"/>
                  <a:pt x="1674564" y="286439"/>
                </a:cubicBezTo>
                <a:cubicBezTo>
                  <a:pt x="1663971" y="294384"/>
                  <a:pt x="1662702" y="311014"/>
                  <a:pt x="1652530" y="319490"/>
                </a:cubicBezTo>
                <a:cubicBezTo>
                  <a:pt x="1639913" y="330004"/>
                  <a:pt x="1623151" y="334179"/>
                  <a:pt x="1608462" y="341523"/>
                </a:cubicBezTo>
                <a:cubicBezTo>
                  <a:pt x="1596521" y="365407"/>
                  <a:pt x="1580815" y="391627"/>
                  <a:pt x="1575412" y="418641"/>
                </a:cubicBezTo>
                <a:cubicBezTo>
                  <a:pt x="1570319" y="444104"/>
                  <a:pt x="1568067" y="470054"/>
                  <a:pt x="1564395" y="495760"/>
                </a:cubicBezTo>
                <a:cubicBezTo>
                  <a:pt x="1580057" y="574069"/>
                  <a:pt x="1581363" y="604282"/>
                  <a:pt x="1608462" y="672029"/>
                </a:cubicBezTo>
                <a:cubicBezTo>
                  <a:pt x="1615807" y="690391"/>
                  <a:pt x="1620892" y="709827"/>
                  <a:pt x="1630496" y="727114"/>
                </a:cubicBezTo>
                <a:cubicBezTo>
                  <a:pt x="1639413" y="743165"/>
                  <a:pt x="1652875" y="756240"/>
                  <a:pt x="1663547" y="771181"/>
                </a:cubicBezTo>
                <a:cubicBezTo>
                  <a:pt x="1671243" y="781955"/>
                  <a:pt x="1676217" y="794869"/>
                  <a:pt x="1685580" y="804232"/>
                </a:cubicBezTo>
                <a:cubicBezTo>
                  <a:pt x="1731520" y="850172"/>
                  <a:pt x="1776257" y="898221"/>
                  <a:pt x="1828800" y="936434"/>
                </a:cubicBezTo>
                <a:cubicBezTo>
                  <a:pt x="1858050" y="957707"/>
                  <a:pt x="1897587" y="960854"/>
                  <a:pt x="1927952" y="980502"/>
                </a:cubicBezTo>
                <a:cubicBezTo>
                  <a:pt x="1960726" y="1001709"/>
                  <a:pt x="1987548" y="1030985"/>
                  <a:pt x="2016086" y="1057620"/>
                </a:cubicBezTo>
                <a:cubicBezTo>
                  <a:pt x="2026405" y="1067251"/>
                  <a:pt x="2177417" y="1219735"/>
                  <a:pt x="2181340" y="1222873"/>
                </a:cubicBezTo>
                <a:cubicBezTo>
                  <a:pt x="2199701" y="1237562"/>
                  <a:pt x="2215643" y="1255938"/>
                  <a:pt x="2236424" y="1266940"/>
                </a:cubicBezTo>
                <a:cubicBezTo>
                  <a:pt x="2375239" y="1340431"/>
                  <a:pt x="2419912" y="1328983"/>
                  <a:pt x="2588964" y="1366092"/>
                </a:cubicBezTo>
                <a:cubicBezTo>
                  <a:pt x="2666394" y="1383089"/>
                  <a:pt x="2744388" y="1398397"/>
                  <a:pt x="2820318" y="1421176"/>
                </a:cubicBezTo>
                <a:cubicBezTo>
                  <a:pt x="2891540" y="1442543"/>
                  <a:pt x="2958907" y="1475354"/>
                  <a:pt x="3029638" y="1498294"/>
                </a:cubicBezTo>
                <a:cubicBezTo>
                  <a:pt x="3094896" y="1519459"/>
                  <a:pt x="3162602" y="1532470"/>
                  <a:pt x="3227942" y="1553379"/>
                </a:cubicBezTo>
                <a:cubicBezTo>
                  <a:pt x="3254579" y="1561903"/>
                  <a:pt x="3279093" y="1576042"/>
                  <a:pt x="3305060" y="1586429"/>
                </a:cubicBezTo>
                <a:cubicBezTo>
                  <a:pt x="3541602" y="1681045"/>
                  <a:pt x="3241968" y="1553072"/>
                  <a:pt x="3481330" y="1663547"/>
                </a:cubicBezTo>
                <a:cubicBezTo>
                  <a:pt x="3543384" y="1692187"/>
                  <a:pt x="3673758" y="1730286"/>
                  <a:pt x="3712684" y="1740666"/>
                </a:cubicBezTo>
                <a:cubicBezTo>
                  <a:pt x="3763488" y="1754214"/>
                  <a:pt x="3815189" y="1764310"/>
                  <a:pt x="3866920" y="1773716"/>
                </a:cubicBezTo>
                <a:cubicBezTo>
                  <a:pt x="3896049" y="1779012"/>
                  <a:pt x="3925746" y="1780546"/>
                  <a:pt x="3955055" y="1784733"/>
                </a:cubicBezTo>
                <a:cubicBezTo>
                  <a:pt x="3977168" y="1787892"/>
                  <a:pt x="3999122" y="1792078"/>
                  <a:pt x="4021156" y="1795750"/>
                </a:cubicBezTo>
                <a:cubicBezTo>
                  <a:pt x="4294773" y="1909756"/>
                  <a:pt x="4062210" y="1827501"/>
                  <a:pt x="4560983" y="1894902"/>
                </a:cubicBezTo>
                <a:cubicBezTo>
                  <a:pt x="4696858" y="1913263"/>
                  <a:pt x="4834160" y="1923096"/>
                  <a:pt x="4968607" y="1949986"/>
                </a:cubicBezTo>
                <a:cubicBezTo>
                  <a:pt x="5139799" y="1984225"/>
                  <a:pt x="5298318" y="2018076"/>
                  <a:pt x="5475383" y="2038121"/>
                </a:cubicBezTo>
                <a:cubicBezTo>
                  <a:pt x="5555743" y="2047218"/>
                  <a:pt x="5636964" y="2045466"/>
                  <a:pt x="5717754" y="2049138"/>
                </a:cubicBezTo>
                <a:cubicBezTo>
                  <a:pt x="5776511" y="2063827"/>
                  <a:pt x="5833632" y="2088630"/>
                  <a:pt x="5894024" y="2093205"/>
                </a:cubicBezTo>
                <a:cubicBezTo>
                  <a:pt x="6077150" y="2107078"/>
                  <a:pt x="6261400" y="2096007"/>
                  <a:pt x="6444867" y="2104222"/>
                </a:cubicBezTo>
                <a:cubicBezTo>
                  <a:pt x="6529109" y="2107994"/>
                  <a:pt x="6614651" y="2123339"/>
                  <a:pt x="6698255" y="2137273"/>
                </a:cubicBezTo>
                <a:cubicBezTo>
                  <a:pt x="6825007" y="2133312"/>
                  <a:pt x="6974449" y="2148097"/>
                  <a:pt x="7105879" y="2115239"/>
                </a:cubicBezTo>
                <a:cubicBezTo>
                  <a:pt x="7117145" y="2112422"/>
                  <a:pt x="7127913" y="2107894"/>
                  <a:pt x="7138930" y="2104222"/>
                </a:cubicBezTo>
                <a:cubicBezTo>
                  <a:pt x="7454413" y="2125254"/>
                  <a:pt x="7248976" y="2115239"/>
                  <a:pt x="7755874" y="2115239"/>
                </a:cubicBezTo>
              </a:path>
            </a:pathLst>
          </a:custGeom>
          <a:noFill/>
          <a:ln w="25400">
            <a:solidFill>
              <a:schemeClr val="accent1"/>
            </a:solidFill>
            <a:prstDash val="dash"/>
            <a:tailEnd type="triangle" w="lg" len="lg"/>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eaLnBrk="0" fontAlgn="base" hangingPunct="0">
              <a:spcBef>
                <a:spcPct val="0"/>
              </a:spcBef>
              <a:spcAft>
                <a:spcPct val="0"/>
              </a:spcAft>
            </a:pPr>
            <a:endParaRPr lang="de-CH" b="1">
              <a:latin typeface="Segoe UI" pitchFamily="-128" charset="0"/>
              <a:ea typeface="ＭＳ Ｐゴシック" pitchFamily="-128" charset="-128"/>
            </a:endParaRPr>
          </a:p>
        </p:txBody>
      </p:sp>
      <p:sp>
        <p:nvSpPr>
          <p:cNvPr id="28" name="Freeform: Shape 27">
            <a:extLst>
              <a:ext uri="{FF2B5EF4-FFF2-40B4-BE49-F238E27FC236}">
                <a16:creationId xmlns:a16="http://schemas.microsoft.com/office/drawing/2014/main" id="{1C33966B-8952-4FA3-B4D4-389B4190883E}"/>
              </a:ext>
            </a:extLst>
          </p:cNvPr>
          <p:cNvSpPr/>
          <p:nvPr/>
        </p:nvSpPr>
        <p:spPr>
          <a:xfrm>
            <a:off x="8989764" y="4924540"/>
            <a:ext cx="925417" cy="782281"/>
          </a:xfrm>
          <a:custGeom>
            <a:avLst/>
            <a:gdLst>
              <a:gd name="connsiteX0" fmla="*/ 925417 w 925417"/>
              <a:gd name="connsiteY0" fmla="*/ 55084 h 782281"/>
              <a:gd name="connsiteX1" fmla="*/ 550843 w 925417"/>
              <a:gd name="connsiteY1" fmla="*/ 44067 h 782281"/>
              <a:gd name="connsiteX2" fmla="*/ 495759 w 925417"/>
              <a:gd name="connsiteY2" fmla="*/ 33050 h 782281"/>
              <a:gd name="connsiteX3" fmla="*/ 418641 w 925417"/>
              <a:gd name="connsiteY3" fmla="*/ 0 h 782281"/>
              <a:gd name="connsiteX4" fmla="*/ 176270 w 925417"/>
              <a:gd name="connsiteY4" fmla="*/ 11017 h 782281"/>
              <a:gd name="connsiteX5" fmla="*/ 132202 w 925417"/>
              <a:gd name="connsiteY5" fmla="*/ 22033 h 782281"/>
              <a:gd name="connsiteX6" fmla="*/ 66101 w 925417"/>
              <a:gd name="connsiteY6" fmla="*/ 55084 h 782281"/>
              <a:gd name="connsiteX7" fmla="*/ 11017 w 925417"/>
              <a:gd name="connsiteY7" fmla="*/ 132202 h 782281"/>
              <a:gd name="connsiteX8" fmla="*/ 0 w 925417"/>
              <a:gd name="connsiteY8" fmla="*/ 176270 h 782281"/>
              <a:gd name="connsiteX9" fmla="*/ 11017 w 925417"/>
              <a:gd name="connsiteY9" fmla="*/ 297455 h 782281"/>
              <a:gd name="connsiteX10" fmla="*/ 55084 w 925417"/>
              <a:gd name="connsiteY10" fmla="*/ 374573 h 782281"/>
              <a:gd name="connsiteX11" fmla="*/ 132202 w 925417"/>
              <a:gd name="connsiteY11" fmla="*/ 440674 h 782281"/>
              <a:gd name="connsiteX12" fmla="*/ 165253 w 925417"/>
              <a:gd name="connsiteY12" fmla="*/ 473725 h 782281"/>
              <a:gd name="connsiteX13" fmla="*/ 209320 w 925417"/>
              <a:gd name="connsiteY13" fmla="*/ 495759 h 782281"/>
              <a:gd name="connsiteX14" fmla="*/ 253388 w 925417"/>
              <a:gd name="connsiteY14" fmla="*/ 528809 h 782281"/>
              <a:gd name="connsiteX15" fmla="*/ 275422 w 925417"/>
              <a:gd name="connsiteY15" fmla="*/ 561860 h 782281"/>
              <a:gd name="connsiteX16" fmla="*/ 352540 w 925417"/>
              <a:gd name="connsiteY16" fmla="*/ 605927 h 782281"/>
              <a:gd name="connsiteX17" fmla="*/ 407624 w 925417"/>
              <a:gd name="connsiteY17" fmla="*/ 627961 h 782281"/>
              <a:gd name="connsiteX18" fmla="*/ 484742 w 925417"/>
              <a:gd name="connsiteY18" fmla="*/ 649995 h 782281"/>
              <a:gd name="connsiteX19" fmla="*/ 583894 w 925417"/>
              <a:gd name="connsiteY19" fmla="*/ 705079 h 782281"/>
              <a:gd name="connsiteX20" fmla="*/ 649995 w 925417"/>
              <a:gd name="connsiteY20" fmla="*/ 727113 h 782281"/>
              <a:gd name="connsiteX21" fmla="*/ 683046 w 925417"/>
              <a:gd name="connsiteY21" fmla="*/ 749147 h 782281"/>
              <a:gd name="connsiteX22" fmla="*/ 716096 w 925417"/>
              <a:gd name="connsiteY22" fmla="*/ 760164 h 782281"/>
              <a:gd name="connsiteX23" fmla="*/ 837282 w 925417"/>
              <a:gd name="connsiteY23" fmla="*/ 782197 h 78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25417" h="782281">
                <a:moveTo>
                  <a:pt x="925417" y="55084"/>
                </a:moveTo>
                <a:cubicBezTo>
                  <a:pt x="800559" y="51412"/>
                  <a:pt x="675591" y="50464"/>
                  <a:pt x="550843" y="44067"/>
                </a:cubicBezTo>
                <a:cubicBezTo>
                  <a:pt x="532143" y="43108"/>
                  <a:pt x="513292" y="39625"/>
                  <a:pt x="495759" y="33050"/>
                </a:cubicBezTo>
                <a:cubicBezTo>
                  <a:pt x="343592" y="-24011"/>
                  <a:pt x="597360" y="44681"/>
                  <a:pt x="418641" y="0"/>
                </a:cubicBezTo>
                <a:cubicBezTo>
                  <a:pt x="337851" y="3672"/>
                  <a:pt x="256906" y="4814"/>
                  <a:pt x="176270" y="11017"/>
                </a:cubicBezTo>
                <a:cubicBezTo>
                  <a:pt x="161173" y="12178"/>
                  <a:pt x="146119" y="16069"/>
                  <a:pt x="132202" y="22033"/>
                </a:cubicBezTo>
                <a:cubicBezTo>
                  <a:pt x="-17312" y="86109"/>
                  <a:pt x="205386" y="8656"/>
                  <a:pt x="66101" y="55084"/>
                </a:cubicBezTo>
                <a:cubicBezTo>
                  <a:pt x="62338" y="60101"/>
                  <a:pt x="16387" y="119671"/>
                  <a:pt x="11017" y="132202"/>
                </a:cubicBezTo>
                <a:cubicBezTo>
                  <a:pt x="5053" y="146119"/>
                  <a:pt x="3672" y="161581"/>
                  <a:pt x="0" y="176270"/>
                </a:cubicBezTo>
                <a:cubicBezTo>
                  <a:pt x="3672" y="216665"/>
                  <a:pt x="3062" y="257681"/>
                  <a:pt x="11017" y="297455"/>
                </a:cubicBezTo>
                <a:cubicBezTo>
                  <a:pt x="13736" y="311050"/>
                  <a:pt x="44285" y="361974"/>
                  <a:pt x="55084" y="374573"/>
                </a:cubicBezTo>
                <a:cubicBezTo>
                  <a:pt x="121291" y="451814"/>
                  <a:pt x="73724" y="391942"/>
                  <a:pt x="132202" y="440674"/>
                </a:cubicBezTo>
                <a:cubicBezTo>
                  <a:pt x="144171" y="450648"/>
                  <a:pt x="152575" y="464669"/>
                  <a:pt x="165253" y="473725"/>
                </a:cubicBezTo>
                <a:cubicBezTo>
                  <a:pt x="178617" y="483271"/>
                  <a:pt x="195393" y="487055"/>
                  <a:pt x="209320" y="495759"/>
                </a:cubicBezTo>
                <a:cubicBezTo>
                  <a:pt x="224891" y="505491"/>
                  <a:pt x="238699" y="517792"/>
                  <a:pt x="253388" y="528809"/>
                </a:cubicBezTo>
                <a:cubicBezTo>
                  <a:pt x="260733" y="539826"/>
                  <a:pt x="266059" y="552497"/>
                  <a:pt x="275422" y="561860"/>
                </a:cubicBezTo>
                <a:cubicBezTo>
                  <a:pt x="312760" y="599199"/>
                  <a:pt x="312201" y="590800"/>
                  <a:pt x="352540" y="605927"/>
                </a:cubicBezTo>
                <a:cubicBezTo>
                  <a:pt x="371057" y="612871"/>
                  <a:pt x="389107" y="621017"/>
                  <a:pt x="407624" y="627961"/>
                </a:cubicBezTo>
                <a:cubicBezTo>
                  <a:pt x="439232" y="639814"/>
                  <a:pt x="450018" y="641314"/>
                  <a:pt x="484742" y="649995"/>
                </a:cubicBezTo>
                <a:cubicBezTo>
                  <a:pt x="524326" y="676385"/>
                  <a:pt x="531929" y="683427"/>
                  <a:pt x="583894" y="705079"/>
                </a:cubicBezTo>
                <a:cubicBezTo>
                  <a:pt x="605333" y="714012"/>
                  <a:pt x="630670" y="714230"/>
                  <a:pt x="649995" y="727113"/>
                </a:cubicBezTo>
                <a:cubicBezTo>
                  <a:pt x="661012" y="734458"/>
                  <a:pt x="671203" y="743225"/>
                  <a:pt x="683046" y="749147"/>
                </a:cubicBezTo>
                <a:cubicBezTo>
                  <a:pt x="693433" y="754340"/>
                  <a:pt x="704893" y="757109"/>
                  <a:pt x="716096" y="760164"/>
                </a:cubicBezTo>
                <a:cubicBezTo>
                  <a:pt x="806682" y="784869"/>
                  <a:pt x="776945" y="782197"/>
                  <a:pt x="837282" y="782197"/>
                </a:cubicBezTo>
              </a:path>
            </a:pathLst>
          </a:custGeom>
          <a:noFill/>
          <a:ln w="25400">
            <a:solidFill>
              <a:schemeClr val="accent1"/>
            </a:solidFill>
            <a:prstDash val="dash"/>
            <a:tailEnd type="triangle" w="lg" len="lg"/>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eaLnBrk="0" fontAlgn="base" hangingPunct="0">
              <a:spcBef>
                <a:spcPct val="0"/>
              </a:spcBef>
              <a:spcAft>
                <a:spcPct val="0"/>
              </a:spcAft>
            </a:pPr>
            <a:endParaRPr lang="de-CH" b="1">
              <a:latin typeface="Segoe UI" pitchFamily="-128" charset="0"/>
              <a:ea typeface="ＭＳ Ｐゴシック" pitchFamily="-128" charset="-128"/>
            </a:endParaRPr>
          </a:p>
        </p:txBody>
      </p:sp>
      <p:sp>
        <p:nvSpPr>
          <p:cNvPr id="29" name="Smiley Face 28">
            <a:extLst>
              <a:ext uri="{FF2B5EF4-FFF2-40B4-BE49-F238E27FC236}">
                <a16:creationId xmlns:a16="http://schemas.microsoft.com/office/drawing/2014/main" id="{BC6FA5AE-7D00-4B9D-84C3-CBFDECDC5B41}"/>
              </a:ext>
            </a:extLst>
          </p:cNvPr>
          <p:cNvSpPr/>
          <p:nvPr/>
        </p:nvSpPr>
        <p:spPr>
          <a:xfrm>
            <a:off x="10118160" y="5770782"/>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0" name="Smiley Face 29">
            <a:extLst>
              <a:ext uri="{FF2B5EF4-FFF2-40B4-BE49-F238E27FC236}">
                <a16:creationId xmlns:a16="http://schemas.microsoft.com/office/drawing/2014/main" id="{9838F858-9CDE-476D-9881-31F907172988}"/>
              </a:ext>
            </a:extLst>
          </p:cNvPr>
          <p:cNvSpPr/>
          <p:nvPr/>
        </p:nvSpPr>
        <p:spPr>
          <a:xfrm>
            <a:off x="10079588" y="4564092"/>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1" name="Smiley Face 30">
            <a:extLst>
              <a:ext uri="{FF2B5EF4-FFF2-40B4-BE49-F238E27FC236}">
                <a16:creationId xmlns:a16="http://schemas.microsoft.com/office/drawing/2014/main" id="{4D672C57-646F-4613-A817-9386D9AD89D0}"/>
              </a:ext>
            </a:extLst>
          </p:cNvPr>
          <p:cNvSpPr/>
          <p:nvPr/>
        </p:nvSpPr>
        <p:spPr>
          <a:xfrm>
            <a:off x="10118160" y="3286697"/>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2" name="Smiley Face 31">
            <a:extLst>
              <a:ext uri="{FF2B5EF4-FFF2-40B4-BE49-F238E27FC236}">
                <a16:creationId xmlns:a16="http://schemas.microsoft.com/office/drawing/2014/main" id="{F9D302C3-994B-48C8-834F-9F8CCD6FA5F0}"/>
              </a:ext>
            </a:extLst>
          </p:cNvPr>
          <p:cNvSpPr/>
          <p:nvPr/>
        </p:nvSpPr>
        <p:spPr>
          <a:xfrm>
            <a:off x="10079588" y="1806597"/>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3" name="Smiley Face 32">
            <a:extLst>
              <a:ext uri="{FF2B5EF4-FFF2-40B4-BE49-F238E27FC236}">
                <a16:creationId xmlns:a16="http://schemas.microsoft.com/office/drawing/2014/main" id="{266D5967-B2F2-4D27-8F0E-4EA8F1D72A2B}"/>
              </a:ext>
            </a:extLst>
          </p:cNvPr>
          <p:cNvSpPr/>
          <p:nvPr/>
        </p:nvSpPr>
        <p:spPr>
          <a:xfrm>
            <a:off x="1127691" y="4551959"/>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4" name="Smiley Face 33">
            <a:extLst>
              <a:ext uri="{FF2B5EF4-FFF2-40B4-BE49-F238E27FC236}">
                <a16:creationId xmlns:a16="http://schemas.microsoft.com/office/drawing/2014/main" id="{D4C9E391-9589-4C9B-B4EF-F29232437B03}"/>
              </a:ext>
            </a:extLst>
          </p:cNvPr>
          <p:cNvSpPr/>
          <p:nvPr/>
        </p:nvSpPr>
        <p:spPr>
          <a:xfrm>
            <a:off x="1140527" y="3189608"/>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5" name="Smiley Face 34">
            <a:extLst>
              <a:ext uri="{FF2B5EF4-FFF2-40B4-BE49-F238E27FC236}">
                <a16:creationId xmlns:a16="http://schemas.microsoft.com/office/drawing/2014/main" id="{9EC38B6F-D853-487B-A1D8-9FF3777B77E2}"/>
              </a:ext>
            </a:extLst>
          </p:cNvPr>
          <p:cNvSpPr/>
          <p:nvPr/>
        </p:nvSpPr>
        <p:spPr>
          <a:xfrm>
            <a:off x="1147916" y="1725622"/>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
        <p:nvSpPr>
          <p:cNvPr id="36" name="Smiley Face 35">
            <a:extLst>
              <a:ext uri="{FF2B5EF4-FFF2-40B4-BE49-F238E27FC236}">
                <a16:creationId xmlns:a16="http://schemas.microsoft.com/office/drawing/2014/main" id="{C9A6CCBF-0BA8-4547-863C-56A764316CD9}"/>
              </a:ext>
            </a:extLst>
          </p:cNvPr>
          <p:cNvSpPr/>
          <p:nvPr/>
        </p:nvSpPr>
        <p:spPr>
          <a:xfrm>
            <a:off x="5640235" y="214928"/>
            <a:ext cx="642997" cy="647029"/>
          </a:xfrm>
          <a:prstGeom prst="smileyFace">
            <a:avLst>
              <a:gd name="adj" fmla="val 4653"/>
            </a:avLst>
          </a:prstGeom>
          <a:solidFill>
            <a:schemeClr val="accent1"/>
          </a:solidFill>
          <a:ln>
            <a:solidFill>
              <a:srgbClr val="EBF6FF"/>
            </a:solidFill>
          </a:ln>
        </p:spPr>
        <p:txBody>
          <a:bodyPr wrap="square" lIns="72000" tIns="72000" rIns="72000" bIns="72000" rtlCol="0" anchor="ctr">
            <a:noAutofit/>
          </a:bodyPr>
          <a:lstStyle/>
          <a:p>
            <a:pPr algn="ctr"/>
            <a:endParaRPr lang="de-CH" sz="1600" err="1">
              <a:solidFill>
                <a:schemeClr val="bg1"/>
              </a:solidFill>
            </a:endParaRPr>
          </a:p>
        </p:txBody>
      </p:sp>
    </p:spTree>
    <p:extLst>
      <p:ext uri="{BB962C8B-B14F-4D97-AF65-F5344CB8AC3E}">
        <p14:creationId xmlns:p14="http://schemas.microsoft.com/office/powerpoint/2010/main" val="2580572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80">
                                          <p:stCondLst>
                                            <p:cond delay="0"/>
                                          </p:stCondLst>
                                        </p:cTn>
                                        <p:tgtEl>
                                          <p:spTgt spid="18"/>
                                        </p:tgtEl>
                                      </p:cBhvr>
                                    </p:animEffect>
                                    <p:anim calcmode="lin" valueType="num">
                                      <p:cBhvr>
                                        <p:cTn id="8"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13" dur="26">
                                          <p:stCondLst>
                                            <p:cond delay="650"/>
                                          </p:stCondLst>
                                        </p:cTn>
                                        <p:tgtEl>
                                          <p:spTgt spid="18"/>
                                        </p:tgtEl>
                                      </p:cBhvr>
                                      <p:to x="100000" y="60000"/>
                                    </p:animScale>
                                    <p:animScale>
                                      <p:cBhvr>
                                        <p:cTn id="14" dur="166" decel="50000">
                                          <p:stCondLst>
                                            <p:cond delay="676"/>
                                          </p:stCondLst>
                                        </p:cTn>
                                        <p:tgtEl>
                                          <p:spTgt spid="18"/>
                                        </p:tgtEl>
                                      </p:cBhvr>
                                      <p:to x="100000" y="100000"/>
                                    </p:animScale>
                                    <p:animScale>
                                      <p:cBhvr>
                                        <p:cTn id="15" dur="26">
                                          <p:stCondLst>
                                            <p:cond delay="1312"/>
                                          </p:stCondLst>
                                        </p:cTn>
                                        <p:tgtEl>
                                          <p:spTgt spid="18"/>
                                        </p:tgtEl>
                                      </p:cBhvr>
                                      <p:to x="100000" y="80000"/>
                                    </p:animScale>
                                    <p:animScale>
                                      <p:cBhvr>
                                        <p:cTn id="16" dur="166" decel="50000">
                                          <p:stCondLst>
                                            <p:cond delay="1338"/>
                                          </p:stCondLst>
                                        </p:cTn>
                                        <p:tgtEl>
                                          <p:spTgt spid="18"/>
                                        </p:tgtEl>
                                      </p:cBhvr>
                                      <p:to x="100000" y="100000"/>
                                    </p:animScale>
                                    <p:animScale>
                                      <p:cBhvr>
                                        <p:cTn id="17" dur="26">
                                          <p:stCondLst>
                                            <p:cond delay="1642"/>
                                          </p:stCondLst>
                                        </p:cTn>
                                        <p:tgtEl>
                                          <p:spTgt spid="18"/>
                                        </p:tgtEl>
                                      </p:cBhvr>
                                      <p:to x="100000" y="90000"/>
                                    </p:animScale>
                                    <p:animScale>
                                      <p:cBhvr>
                                        <p:cTn id="18" dur="166" decel="50000">
                                          <p:stCondLst>
                                            <p:cond delay="1668"/>
                                          </p:stCondLst>
                                        </p:cTn>
                                        <p:tgtEl>
                                          <p:spTgt spid="18"/>
                                        </p:tgtEl>
                                      </p:cBhvr>
                                      <p:to x="100000" y="100000"/>
                                    </p:animScale>
                                    <p:animScale>
                                      <p:cBhvr>
                                        <p:cTn id="19" dur="26">
                                          <p:stCondLst>
                                            <p:cond delay="1808"/>
                                          </p:stCondLst>
                                        </p:cTn>
                                        <p:tgtEl>
                                          <p:spTgt spid="18"/>
                                        </p:tgtEl>
                                      </p:cBhvr>
                                      <p:to x="100000" y="95000"/>
                                    </p:animScale>
                                    <p:animScale>
                                      <p:cBhvr>
                                        <p:cTn id="20" dur="166" decel="50000">
                                          <p:stCondLst>
                                            <p:cond delay="1834"/>
                                          </p:stCondLst>
                                        </p:cTn>
                                        <p:tgtEl>
                                          <p:spTgt spid="18"/>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down)">
                                      <p:cBhvr>
                                        <p:cTn id="23" dur="580">
                                          <p:stCondLst>
                                            <p:cond delay="0"/>
                                          </p:stCondLst>
                                        </p:cTn>
                                        <p:tgtEl>
                                          <p:spTgt spid="13"/>
                                        </p:tgtEl>
                                      </p:cBhvr>
                                    </p:animEffect>
                                    <p:anim calcmode="lin" valueType="num">
                                      <p:cBhvr>
                                        <p:cTn id="24" dur="1822" tmFilter="0,0; 0.14,0.36; 0.43,0.73; 0.71,0.91; 1.0,1.0">
                                          <p:stCondLst>
                                            <p:cond delay="0"/>
                                          </p:stCondLst>
                                        </p:cTn>
                                        <p:tgtEl>
                                          <p:spTgt spid="13"/>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13"/>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13"/>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13"/>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13"/>
                                        </p:tgtEl>
                                        <p:attrNameLst>
                                          <p:attrName>ppt_y</p:attrName>
                                        </p:attrNameLst>
                                      </p:cBhvr>
                                      <p:tavLst>
                                        <p:tav tm="0" fmla="#ppt_y-sin(pi*$)/81">
                                          <p:val>
                                            <p:fltVal val="0"/>
                                          </p:val>
                                        </p:tav>
                                        <p:tav tm="100000">
                                          <p:val>
                                            <p:fltVal val="1"/>
                                          </p:val>
                                        </p:tav>
                                      </p:tavLst>
                                    </p:anim>
                                    <p:animScale>
                                      <p:cBhvr>
                                        <p:cTn id="29" dur="26">
                                          <p:stCondLst>
                                            <p:cond delay="650"/>
                                          </p:stCondLst>
                                        </p:cTn>
                                        <p:tgtEl>
                                          <p:spTgt spid="13"/>
                                        </p:tgtEl>
                                      </p:cBhvr>
                                      <p:to x="100000" y="60000"/>
                                    </p:animScale>
                                    <p:animScale>
                                      <p:cBhvr>
                                        <p:cTn id="30" dur="166" decel="50000">
                                          <p:stCondLst>
                                            <p:cond delay="676"/>
                                          </p:stCondLst>
                                        </p:cTn>
                                        <p:tgtEl>
                                          <p:spTgt spid="13"/>
                                        </p:tgtEl>
                                      </p:cBhvr>
                                      <p:to x="100000" y="100000"/>
                                    </p:animScale>
                                    <p:animScale>
                                      <p:cBhvr>
                                        <p:cTn id="31" dur="26">
                                          <p:stCondLst>
                                            <p:cond delay="1312"/>
                                          </p:stCondLst>
                                        </p:cTn>
                                        <p:tgtEl>
                                          <p:spTgt spid="13"/>
                                        </p:tgtEl>
                                      </p:cBhvr>
                                      <p:to x="100000" y="80000"/>
                                    </p:animScale>
                                    <p:animScale>
                                      <p:cBhvr>
                                        <p:cTn id="32" dur="166" decel="50000">
                                          <p:stCondLst>
                                            <p:cond delay="1338"/>
                                          </p:stCondLst>
                                        </p:cTn>
                                        <p:tgtEl>
                                          <p:spTgt spid="13"/>
                                        </p:tgtEl>
                                      </p:cBhvr>
                                      <p:to x="100000" y="100000"/>
                                    </p:animScale>
                                    <p:animScale>
                                      <p:cBhvr>
                                        <p:cTn id="33" dur="26">
                                          <p:stCondLst>
                                            <p:cond delay="1642"/>
                                          </p:stCondLst>
                                        </p:cTn>
                                        <p:tgtEl>
                                          <p:spTgt spid="13"/>
                                        </p:tgtEl>
                                      </p:cBhvr>
                                      <p:to x="100000" y="90000"/>
                                    </p:animScale>
                                    <p:animScale>
                                      <p:cBhvr>
                                        <p:cTn id="34" dur="166" decel="50000">
                                          <p:stCondLst>
                                            <p:cond delay="1668"/>
                                          </p:stCondLst>
                                        </p:cTn>
                                        <p:tgtEl>
                                          <p:spTgt spid="13"/>
                                        </p:tgtEl>
                                      </p:cBhvr>
                                      <p:to x="100000" y="100000"/>
                                    </p:animScale>
                                    <p:animScale>
                                      <p:cBhvr>
                                        <p:cTn id="35" dur="26">
                                          <p:stCondLst>
                                            <p:cond delay="1808"/>
                                          </p:stCondLst>
                                        </p:cTn>
                                        <p:tgtEl>
                                          <p:spTgt spid="13"/>
                                        </p:tgtEl>
                                      </p:cBhvr>
                                      <p:to x="100000" y="95000"/>
                                    </p:animScale>
                                    <p:animScale>
                                      <p:cBhvr>
                                        <p:cTn id="36" dur="166" decel="50000">
                                          <p:stCondLst>
                                            <p:cond delay="1834"/>
                                          </p:stCondLst>
                                        </p:cTn>
                                        <p:tgtEl>
                                          <p:spTgt spid="13"/>
                                        </p:tgtEl>
                                      </p:cBhvr>
                                      <p:to x="100000" y="100000"/>
                                    </p:animScale>
                                  </p:childTnLst>
                                </p:cTn>
                              </p:par>
                              <p:par>
                                <p:cTn id="37" presetID="26"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wipe(down)">
                                      <p:cBhvr>
                                        <p:cTn id="39" dur="580">
                                          <p:stCondLst>
                                            <p:cond delay="0"/>
                                          </p:stCondLst>
                                        </p:cTn>
                                        <p:tgtEl>
                                          <p:spTgt spid="16"/>
                                        </p:tgtEl>
                                      </p:cBhvr>
                                    </p:animEffect>
                                    <p:anim calcmode="lin" valueType="num">
                                      <p:cBhvr>
                                        <p:cTn id="40"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45" dur="26">
                                          <p:stCondLst>
                                            <p:cond delay="650"/>
                                          </p:stCondLst>
                                        </p:cTn>
                                        <p:tgtEl>
                                          <p:spTgt spid="16"/>
                                        </p:tgtEl>
                                      </p:cBhvr>
                                      <p:to x="100000" y="60000"/>
                                    </p:animScale>
                                    <p:animScale>
                                      <p:cBhvr>
                                        <p:cTn id="46" dur="166" decel="50000">
                                          <p:stCondLst>
                                            <p:cond delay="676"/>
                                          </p:stCondLst>
                                        </p:cTn>
                                        <p:tgtEl>
                                          <p:spTgt spid="16"/>
                                        </p:tgtEl>
                                      </p:cBhvr>
                                      <p:to x="100000" y="100000"/>
                                    </p:animScale>
                                    <p:animScale>
                                      <p:cBhvr>
                                        <p:cTn id="47" dur="26">
                                          <p:stCondLst>
                                            <p:cond delay="1312"/>
                                          </p:stCondLst>
                                        </p:cTn>
                                        <p:tgtEl>
                                          <p:spTgt spid="16"/>
                                        </p:tgtEl>
                                      </p:cBhvr>
                                      <p:to x="100000" y="80000"/>
                                    </p:animScale>
                                    <p:animScale>
                                      <p:cBhvr>
                                        <p:cTn id="48" dur="166" decel="50000">
                                          <p:stCondLst>
                                            <p:cond delay="1338"/>
                                          </p:stCondLst>
                                        </p:cTn>
                                        <p:tgtEl>
                                          <p:spTgt spid="16"/>
                                        </p:tgtEl>
                                      </p:cBhvr>
                                      <p:to x="100000" y="100000"/>
                                    </p:animScale>
                                    <p:animScale>
                                      <p:cBhvr>
                                        <p:cTn id="49" dur="26">
                                          <p:stCondLst>
                                            <p:cond delay="1642"/>
                                          </p:stCondLst>
                                        </p:cTn>
                                        <p:tgtEl>
                                          <p:spTgt spid="16"/>
                                        </p:tgtEl>
                                      </p:cBhvr>
                                      <p:to x="100000" y="90000"/>
                                    </p:animScale>
                                    <p:animScale>
                                      <p:cBhvr>
                                        <p:cTn id="50" dur="166" decel="50000">
                                          <p:stCondLst>
                                            <p:cond delay="1668"/>
                                          </p:stCondLst>
                                        </p:cTn>
                                        <p:tgtEl>
                                          <p:spTgt spid="16"/>
                                        </p:tgtEl>
                                      </p:cBhvr>
                                      <p:to x="100000" y="100000"/>
                                    </p:animScale>
                                    <p:animScale>
                                      <p:cBhvr>
                                        <p:cTn id="51" dur="26">
                                          <p:stCondLst>
                                            <p:cond delay="1808"/>
                                          </p:stCondLst>
                                        </p:cTn>
                                        <p:tgtEl>
                                          <p:spTgt spid="16"/>
                                        </p:tgtEl>
                                      </p:cBhvr>
                                      <p:to x="100000" y="95000"/>
                                    </p:animScale>
                                    <p:animScale>
                                      <p:cBhvr>
                                        <p:cTn id="52" dur="166" decel="50000">
                                          <p:stCondLst>
                                            <p:cond delay="1834"/>
                                          </p:stCondLst>
                                        </p:cTn>
                                        <p:tgtEl>
                                          <p:spTgt spid="16"/>
                                        </p:tgtEl>
                                      </p:cBhvr>
                                      <p:to x="100000" y="100000"/>
                                    </p:animScale>
                                  </p:childTnLst>
                                </p:cTn>
                              </p:par>
                              <p:par>
                                <p:cTn id="53" presetID="26" presetClass="entr" presetSubtype="0" fill="hold" nodeType="with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wipe(down)">
                                      <p:cBhvr>
                                        <p:cTn id="55" dur="580">
                                          <p:stCondLst>
                                            <p:cond delay="0"/>
                                          </p:stCondLst>
                                        </p:cTn>
                                        <p:tgtEl>
                                          <p:spTgt spid="15"/>
                                        </p:tgtEl>
                                      </p:cBhvr>
                                    </p:animEffect>
                                    <p:anim calcmode="lin" valueType="num">
                                      <p:cBhvr>
                                        <p:cTn id="56"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61" dur="26">
                                          <p:stCondLst>
                                            <p:cond delay="650"/>
                                          </p:stCondLst>
                                        </p:cTn>
                                        <p:tgtEl>
                                          <p:spTgt spid="15"/>
                                        </p:tgtEl>
                                      </p:cBhvr>
                                      <p:to x="100000" y="60000"/>
                                    </p:animScale>
                                    <p:animScale>
                                      <p:cBhvr>
                                        <p:cTn id="62" dur="166" decel="50000">
                                          <p:stCondLst>
                                            <p:cond delay="676"/>
                                          </p:stCondLst>
                                        </p:cTn>
                                        <p:tgtEl>
                                          <p:spTgt spid="15"/>
                                        </p:tgtEl>
                                      </p:cBhvr>
                                      <p:to x="100000" y="100000"/>
                                    </p:animScale>
                                    <p:animScale>
                                      <p:cBhvr>
                                        <p:cTn id="63" dur="26">
                                          <p:stCondLst>
                                            <p:cond delay="1312"/>
                                          </p:stCondLst>
                                        </p:cTn>
                                        <p:tgtEl>
                                          <p:spTgt spid="15"/>
                                        </p:tgtEl>
                                      </p:cBhvr>
                                      <p:to x="100000" y="80000"/>
                                    </p:animScale>
                                    <p:animScale>
                                      <p:cBhvr>
                                        <p:cTn id="64" dur="166" decel="50000">
                                          <p:stCondLst>
                                            <p:cond delay="1338"/>
                                          </p:stCondLst>
                                        </p:cTn>
                                        <p:tgtEl>
                                          <p:spTgt spid="15"/>
                                        </p:tgtEl>
                                      </p:cBhvr>
                                      <p:to x="100000" y="100000"/>
                                    </p:animScale>
                                    <p:animScale>
                                      <p:cBhvr>
                                        <p:cTn id="65" dur="26">
                                          <p:stCondLst>
                                            <p:cond delay="1642"/>
                                          </p:stCondLst>
                                        </p:cTn>
                                        <p:tgtEl>
                                          <p:spTgt spid="15"/>
                                        </p:tgtEl>
                                      </p:cBhvr>
                                      <p:to x="100000" y="90000"/>
                                    </p:animScale>
                                    <p:animScale>
                                      <p:cBhvr>
                                        <p:cTn id="66" dur="166" decel="50000">
                                          <p:stCondLst>
                                            <p:cond delay="1668"/>
                                          </p:stCondLst>
                                        </p:cTn>
                                        <p:tgtEl>
                                          <p:spTgt spid="15"/>
                                        </p:tgtEl>
                                      </p:cBhvr>
                                      <p:to x="100000" y="100000"/>
                                    </p:animScale>
                                    <p:animScale>
                                      <p:cBhvr>
                                        <p:cTn id="67" dur="26">
                                          <p:stCondLst>
                                            <p:cond delay="1808"/>
                                          </p:stCondLst>
                                        </p:cTn>
                                        <p:tgtEl>
                                          <p:spTgt spid="15"/>
                                        </p:tgtEl>
                                      </p:cBhvr>
                                      <p:to x="100000" y="95000"/>
                                    </p:animScale>
                                    <p:animScale>
                                      <p:cBhvr>
                                        <p:cTn id="68" dur="166" decel="50000">
                                          <p:stCondLst>
                                            <p:cond delay="1834"/>
                                          </p:stCondLst>
                                        </p:cTn>
                                        <p:tgtEl>
                                          <p:spTgt spid="15"/>
                                        </p:tgtEl>
                                      </p:cBhvr>
                                      <p:to x="100000" y="100000"/>
                                    </p:animScale>
                                  </p:childTnLst>
                                </p:cTn>
                              </p:par>
                              <p:par>
                                <p:cTn id="69" presetID="26" presetClass="entr" presetSubtype="0" fill="hold" nodeType="with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down)">
                                      <p:cBhvr>
                                        <p:cTn id="71" dur="580">
                                          <p:stCondLst>
                                            <p:cond delay="0"/>
                                          </p:stCondLst>
                                        </p:cTn>
                                        <p:tgtEl>
                                          <p:spTgt spid="14"/>
                                        </p:tgtEl>
                                      </p:cBhvr>
                                    </p:animEffect>
                                    <p:anim calcmode="lin" valueType="num">
                                      <p:cBhvr>
                                        <p:cTn id="72"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73"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74"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75"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76"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77" dur="26">
                                          <p:stCondLst>
                                            <p:cond delay="650"/>
                                          </p:stCondLst>
                                        </p:cTn>
                                        <p:tgtEl>
                                          <p:spTgt spid="14"/>
                                        </p:tgtEl>
                                      </p:cBhvr>
                                      <p:to x="100000" y="60000"/>
                                    </p:animScale>
                                    <p:animScale>
                                      <p:cBhvr>
                                        <p:cTn id="78" dur="166" decel="50000">
                                          <p:stCondLst>
                                            <p:cond delay="676"/>
                                          </p:stCondLst>
                                        </p:cTn>
                                        <p:tgtEl>
                                          <p:spTgt spid="14"/>
                                        </p:tgtEl>
                                      </p:cBhvr>
                                      <p:to x="100000" y="100000"/>
                                    </p:animScale>
                                    <p:animScale>
                                      <p:cBhvr>
                                        <p:cTn id="79" dur="26">
                                          <p:stCondLst>
                                            <p:cond delay="1312"/>
                                          </p:stCondLst>
                                        </p:cTn>
                                        <p:tgtEl>
                                          <p:spTgt spid="14"/>
                                        </p:tgtEl>
                                      </p:cBhvr>
                                      <p:to x="100000" y="80000"/>
                                    </p:animScale>
                                    <p:animScale>
                                      <p:cBhvr>
                                        <p:cTn id="80" dur="166" decel="50000">
                                          <p:stCondLst>
                                            <p:cond delay="1338"/>
                                          </p:stCondLst>
                                        </p:cTn>
                                        <p:tgtEl>
                                          <p:spTgt spid="14"/>
                                        </p:tgtEl>
                                      </p:cBhvr>
                                      <p:to x="100000" y="100000"/>
                                    </p:animScale>
                                    <p:animScale>
                                      <p:cBhvr>
                                        <p:cTn id="81" dur="26">
                                          <p:stCondLst>
                                            <p:cond delay="1642"/>
                                          </p:stCondLst>
                                        </p:cTn>
                                        <p:tgtEl>
                                          <p:spTgt spid="14"/>
                                        </p:tgtEl>
                                      </p:cBhvr>
                                      <p:to x="100000" y="90000"/>
                                    </p:animScale>
                                    <p:animScale>
                                      <p:cBhvr>
                                        <p:cTn id="82" dur="166" decel="50000">
                                          <p:stCondLst>
                                            <p:cond delay="1668"/>
                                          </p:stCondLst>
                                        </p:cTn>
                                        <p:tgtEl>
                                          <p:spTgt spid="14"/>
                                        </p:tgtEl>
                                      </p:cBhvr>
                                      <p:to x="100000" y="100000"/>
                                    </p:animScale>
                                    <p:animScale>
                                      <p:cBhvr>
                                        <p:cTn id="83" dur="26">
                                          <p:stCondLst>
                                            <p:cond delay="1808"/>
                                          </p:stCondLst>
                                        </p:cTn>
                                        <p:tgtEl>
                                          <p:spTgt spid="14"/>
                                        </p:tgtEl>
                                      </p:cBhvr>
                                      <p:to x="100000" y="95000"/>
                                    </p:animScale>
                                    <p:animScale>
                                      <p:cBhvr>
                                        <p:cTn id="84" dur="166" decel="50000">
                                          <p:stCondLst>
                                            <p:cond delay="1834"/>
                                          </p:stCondLst>
                                        </p:cTn>
                                        <p:tgtEl>
                                          <p:spTgt spid="14"/>
                                        </p:tgtEl>
                                      </p:cBhvr>
                                      <p:to x="100000" y="100000"/>
                                    </p:animScale>
                                  </p:childTnLst>
                                </p:cTn>
                              </p:par>
                              <p:par>
                                <p:cTn id="85" presetID="26" presetClass="entr" presetSubtype="0" fill="hold" nodeType="withEffect">
                                  <p:stCondLst>
                                    <p:cond delay="0"/>
                                  </p:stCondLst>
                                  <p:childTnLst>
                                    <p:set>
                                      <p:cBhvr>
                                        <p:cTn id="86" dur="1" fill="hold">
                                          <p:stCondLst>
                                            <p:cond delay="0"/>
                                          </p:stCondLst>
                                        </p:cTn>
                                        <p:tgtEl>
                                          <p:spTgt spid="17"/>
                                        </p:tgtEl>
                                        <p:attrNameLst>
                                          <p:attrName>style.visibility</p:attrName>
                                        </p:attrNameLst>
                                      </p:cBhvr>
                                      <p:to>
                                        <p:strVal val="visible"/>
                                      </p:to>
                                    </p:set>
                                    <p:animEffect transition="in" filter="wipe(down)">
                                      <p:cBhvr>
                                        <p:cTn id="87" dur="580">
                                          <p:stCondLst>
                                            <p:cond delay="0"/>
                                          </p:stCondLst>
                                        </p:cTn>
                                        <p:tgtEl>
                                          <p:spTgt spid="17"/>
                                        </p:tgtEl>
                                      </p:cBhvr>
                                    </p:animEffect>
                                    <p:anim calcmode="lin" valueType="num">
                                      <p:cBhvr>
                                        <p:cTn id="88"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93" dur="26">
                                          <p:stCondLst>
                                            <p:cond delay="650"/>
                                          </p:stCondLst>
                                        </p:cTn>
                                        <p:tgtEl>
                                          <p:spTgt spid="17"/>
                                        </p:tgtEl>
                                      </p:cBhvr>
                                      <p:to x="100000" y="60000"/>
                                    </p:animScale>
                                    <p:animScale>
                                      <p:cBhvr>
                                        <p:cTn id="94" dur="166" decel="50000">
                                          <p:stCondLst>
                                            <p:cond delay="676"/>
                                          </p:stCondLst>
                                        </p:cTn>
                                        <p:tgtEl>
                                          <p:spTgt spid="17"/>
                                        </p:tgtEl>
                                      </p:cBhvr>
                                      <p:to x="100000" y="100000"/>
                                    </p:animScale>
                                    <p:animScale>
                                      <p:cBhvr>
                                        <p:cTn id="95" dur="26">
                                          <p:stCondLst>
                                            <p:cond delay="1312"/>
                                          </p:stCondLst>
                                        </p:cTn>
                                        <p:tgtEl>
                                          <p:spTgt spid="17"/>
                                        </p:tgtEl>
                                      </p:cBhvr>
                                      <p:to x="100000" y="80000"/>
                                    </p:animScale>
                                    <p:animScale>
                                      <p:cBhvr>
                                        <p:cTn id="96" dur="166" decel="50000">
                                          <p:stCondLst>
                                            <p:cond delay="1338"/>
                                          </p:stCondLst>
                                        </p:cTn>
                                        <p:tgtEl>
                                          <p:spTgt spid="17"/>
                                        </p:tgtEl>
                                      </p:cBhvr>
                                      <p:to x="100000" y="100000"/>
                                    </p:animScale>
                                    <p:animScale>
                                      <p:cBhvr>
                                        <p:cTn id="97" dur="26">
                                          <p:stCondLst>
                                            <p:cond delay="1642"/>
                                          </p:stCondLst>
                                        </p:cTn>
                                        <p:tgtEl>
                                          <p:spTgt spid="17"/>
                                        </p:tgtEl>
                                      </p:cBhvr>
                                      <p:to x="100000" y="90000"/>
                                    </p:animScale>
                                    <p:animScale>
                                      <p:cBhvr>
                                        <p:cTn id="98" dur="166" decel="50000">
                                          <p:stCondLst>
                                            <p:cond delay="1668"/>
                                          </p:stCondLst>
                                        </p:cTn>
                                        <p:tgtEl>
                                          <p:spTgt spid="17"/>
                                        </p:tgtEl>
                                      </p:cBhvr>
                                      <p:to x="100000" y="100000"/>
                                    </p:animScale>
                                    <p:animScale>
                                      <p:cBhvr>
                                        <p:cTn id="99" dur="26">
                                          <p:stCondLst>
                                            <p:cond delay="1808"/>
                                          </p:stCondLst>
                                        </p:cTn>
                                        <p:tgtEl>
                                          <p:spTgt spid="17"/>
                                        </p:tgtEl>
                                      </p:cBhvr>
                                      <p:to x="100000" y="95000"/>
                                    </p:animScale>
                                    <p:animScale>
                                      <p:cBhvr>
                                        <p:cTn id="100" dur="166" decel="50000">
                                          <p:stCondLst>
                                            <p:cond delay="1834"/>
                                          </p:stCondLst>
                                        </p:cTn>
                                        <p:tgtEl>
                                          <p:spTgt spid="17"/>
                                        </p:tgtEl>
                                      </p:cBhvr>
                                      <p:to x="100000" y="100000"/>
                                    </p:animScale>
                                  </p:childTnLst>
                                </p:cTn>
                              </p:par>
                              <p:par>
                                <p:cTn id="101" presetID="26" presetClass="entr" presetSubtype="0" fill="hold" nodeType="withEffect">
                                  <p:stCondLst>
                                    <p:cond delay="0"/>
                                  </p:stCondLst>
                                  <p:childTnLst>
                                    <p:set>
                                      <p:cBhvr>
                                        <p:cTn id="102" dur="1" fill="hold">
                                          <p:stCondLst>
                                            <p:cond delay="0"/>
                                          </p:stCondLst>
                                        </p:cTn>
                                        <p:tgtEl>
                                          <p:spTgt spid="12"/>
                                        </p:tgtEl>
                                        <p:attrNameLst>
                                          <p:attrName>style.visibility</p:attrName>
                                        </p:attrNameLst>
                                      </p:cBhvr>
                                      <p:to>
                                        <p:strVal val="visible"/>
                                      </p:to>
                                    </p:set>
                                    <p:animEffect transition="in" filter="wipe(down)">
                                      <p:cBhvr>
                                        <p:cTn id="103" dur="580">
                                          <p:stCondLst>
                                            <p:cond delay="0"/>
                                          </p:stCondLst>
                                        </p:cTn>
                                        <p:tgtEl>
                                          <p:spTgt spid="12"/>
                                        </p:tgtEl>
                                      </p:cBhvr>
                                    </p:animEffect>
                                    <p:anim calcmode="lin" valueType="num">
                                      <p:cBhvr>
                                        <p:cTn id="104"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105"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6"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07"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08"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09" dur="26">
                                          <p:stCondLst>
                                            <p:cond delay="650"/>
                                          </p:stCondLst>
                                        </p:cTn>
                                        <p:tgtEl>
                                          <p:spTgt spid="12"/>
                                        </p:tgtEl>
                                      </p:cBhvr>
                                      <p:to x="100000" y="60000"/>
                                    </p:animScale>
                                    <p:animScale>
                                      <p:cBhvr>
                                        <p:cTn id="110" dur="166" decel="50000">
                                          <p:stCondLst>
                                            <p:cond delay="676"/>
                                          </p:stCondLst>
                                        </p:cTn>
                                        <p:tgtEl>
                                          <p:spTgt spid="12"/>
                                        </p:tgtEl>
                                      </p:cBhvr>
                                      <p:to x="100000" y="100000"/>
                                    </p:animScale>
                                    <p:animScale>
                                      <p:cBhvr>
                                        <p:cTn id="111" dur="26">
                                          <p:stCondLst>
                                            <p:cond delay="1312"/>
                                          </p:stCondLst>
                                        </p:cTn>
                                        <p:tgtEl>
                                          <p:spTgt spid="12"/>
                                        </p:tgtEl>
                                      </p:cBhvr>
                                      <p:to x="100000" y="80000"/>
                                    </p:animScale>
                                    <p:animScale>
                                      <p:cBhvr>
                                        <p:cTn id="112" dur="166" decel="50000">
                                          <p:stCondLst>
                                            <p:cond delay="1338"/>
                                          </p:stCondLst>
                                        </p:cTn>
                                        <p:tgtEl>
                                          <p:spTgt spid="12"/>
                                        </p:tgtEl>
                                      </p:cBhvr>
                                      <p:to x="100000" y="100000"/>
                                    </p:animScale>
                                    <p:animScale>
                                      <p:cBhvr>
                                        <p:cTn id="113" dur="26">
                                          <p:stCondLst>
                                            <p:cond delay="1642"/>
                                          </p:stCondLst>
                                        </p:cTn>
                                        <p:tgtEl>
                                          <p:spTgt spid="12"/>
                                        </p:tgtEl>
                                      </p:cBhvr>
                                      <p:to x="100000" y="90000"/>
                                    </p:animScale>
                                    <p:animScale>
                                      <p:cBhvr>
                                        <p:cTn id="114" dur="166" decel="50000">
                                          <p:stCondLst>
                                            <p:cond delay="1668"/>
                                          </p:stCondLst>
                                        </p:cTn>
                                        <p:tgtEl>
                                          <p:spTgt spid="12"/>
                                        </p:tgtEl>
                                      </p:cBhvr>
                                      <p:to x="100000" y="100000"/>
                                    </p:animScale>
                                    <p:animScale>
                                      <p:cBhvr>
                                        <p:cTn id="115" dur="26">
                                          <p:stCondLst>
                                            <p:cond delay="1808"/>
                                          </p:stCondLst>
                                        </p:cTn>
                                        <p:tgtEl>
                                          <p:spTgt spid="12"/>
                                        </p:tgtEl>
                                      </p:cBhvr>
                                      <p:to x="100000" y="95000"/>
                                    </p:animScale>
                                    <p:animScale>
                                      <p:cBhvr>
                                        <p:cTn id="116" dur="166" decel="50000">
                                          <p:stCondLst>
                                            <p:cond delay="1834"/>
                                          </p:stCondLst>
                                        </p:cTn>
                                        <p:tgtEl>
                                          <p:spTgt spid="12"/>
                                        </p:tgtEl>
                                      </p:cBhvr>
                                      <p:to x="100000" y="100000"/>
                                    </p:animScale>
                                  </p:childTnLst>
                                </p:cTn>
                              </p:par>
                              <p:par>
                                <p:cTn id="117" presetID="26" presetClass="entr" presetSubtype="0" fill="hold" nodeType="withEffect">
                                  <p:stCondLst>
                                    <p:cond delay="0"/>
                                  </p:stCondLst>
                                  <p:childTnLst>
                                    <p:set>
                                      <p:cBhvr>
                                        <p:cTn id="118" dur="1" fill="hold">
                                          <p:stCondLst>
                                            <p:cond delay="0"/>
                                          </p:stCondLst>
                                        </p:cTn>
                                        <p:tgtEl>
                                          <p:spTgt spid="11"/>
                                        </p:tgtEl>
                                        <p:attrNameLst>
                                          <p:attrName>style.visibility</p:attrName>
                                        </p:attrNameLst>
                                      </p:cBhvr>
                                      <p:to>
                                        <p:strVal val="visible"/>
                                      </p:to>
                                    </p:set>
                                    <p:animEffect transition="in" filter="wipe(down)">
                                      <p:cBhvr>
                                        <p:cTn id="119" dur="580">
                                          <p:stCondLst>
                                            <p:cond delay="0"/>
                                          </p:stCondLst>
                                        </p:cTn>
                                        <p:tgtEl>
                                          <p:spTgt spid="11"/>
                                        </p:tgtEl>
                                      </p:cBhvr>
                                    </p:animEffect>
                                    <p:anim calcmode="lin" valueType="num">
                                      <p:cBhvr>
                                        <p:cTn id="120"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121"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22"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23"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4"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25" dur="26">
                                          <p:stCondLst>
                                            <p:cond delay="650"/>
                                          </p:stCondLst>
                                        </p:cTn>
                                        <p:tgtEl>
                                          <p:spTgt spid="11"/>
                                        </p:tgtEl>
                                      </p:cBhvr>
                                      <p:to x="100000" y="60000"/>
                                    </p:animScale>
                                    <p:animScale>
                                      <p:cBhvr>
                                        <p:cTn id="126" dur="166" decel="50000">
                                          <p:stCondLst>
                                            <p:cond delay="676"/>
                                          </p:stCondLst>
                                        </p:cTn>
                                        <p:tgtEl>
                                          <p:spTgt spid="11"/>
                                        </p:tgtEl>
                                      </p:cBhvr>
                                      <p:to x="100000" y="100000"/>
                                    </p:animScale>
                                    <p:animScale>
                                      <p:cBhvr>
                                        <p:cTn id="127" dur="26">
                                          <p:stCondLst>
                                            <p:cond delay="1312"/>
                                          </p:stCondLst>
                                        </p:cTn>
                                        <p:tgtEl>
                                          <p:spTgt spid="11"/>
                                        </p:tgtEl>
                                      </p:cBhvr>
                                      <p:to x="100000" y="80000"/>
                                    </p:animScale>
                                    <p:animScale>
                                      <p:cBhvr>
                                        <p:cTn id="128" dur="166" decel="50000">
                                          <p:stCondLst>
                                            <p:cond delay="1338"/>
                                          </p:stCondLst>
                                        </p:cTn>
                                        <p:tgtEl>
                                          <p:spTgt spid="11"/>
                                        </p:tgtEl>
                                      </p:cBhvr>
                                      <p:to x="100000" y="100000"/>
                                    </p:animScale>
                                    <p:animScale>
                                      <p:cBhvr>
                                        <p:cTn id="129" dur="26">
                                          <p:stCondLst>
                                            <p:cond delay="1642"/>
                                          </p:stCondLst>
                                        </p:cTn>
                                        <p:tgtEl>
                                          <p:spTgt spid="11"/>
                                        </p:tgtEl>
                                      </p:cBhvr>
                                      <p:to x="100000" y="90000"/>
                                    </p:animScale>
                                    <p:animScale>
                                      <p:cBhvr>
                                        <p:cTn id="130" dur="166" decel="50000">
                                          <p:stCondLst>
                                            <p:cond delay="1668"/>
                                          </p:stCondLst>
                                        </p:cTn>
                                        <p:tgtEl>
                                          <p:spTgt spid="11"/>
                                        </p:tgtEl>
                                      </p:cBhvr>
                                      <p:to x="100000" y="100000"/>
                                    </p:animScale>
                                    <p:animScale>
                                      <p:cBhvr>
                                        <p:cTn id="131" dur="26">
                                          <p:stCondLst>
                                            <p:cond delay="1808"/>
                                          </p:stCondLst>
                                        </p:cTn>
                                        <p:tgtEl>
                                          <p:spTgt spid="11"/>
                                        </p:tgtEl>
                                      </p:cBhvr>
                                      <p:to x="100000" y="95000"/>
                                    </p:animScale>
                                    <p:animScale>
                                      <p:cBhvr>
                                        <p:cTn id="132" dur="166" decel="50000">
                                          <p:stCondLst>
                                            <p:cond delay="1834"/>
                                          </p:stCondLst>
                                        </p:cTn>
                                        <p:tgtEl>
                                          <p:spTgt spid="11"/>
                                        </p:tgtEl>
                                      </p:cBhvr>
                                      <p:to x="100000" y="100000"/>
                                    </p:animScale>
                                  </p:childTnLst>
                                </p:cTn>
                              </p:par>
                            </p:childTnLst>
                          </p:cTn>
                        </p:par>
                        <p:par>
                          <p:cTn id="133" fill="hold">
                            <p:stCondLst>
                              <p:cond delay="2000"/>
                            </p:stCondLst>
                            <p:childTnLst>
                              <p:par>
                                <p:cTn id="134" presetID="22" presetClass="entr" presetSubtype="8" fill="hold" grpId="0" nodeType="afterEffect">
                                  <p:stCondLst>
                                    <p:cond delay="0"/>
                                  </p:stCondLst>
                                  <p:childTnLst>
                                    <p:set>
                                      <p:cBhvr>
                                        <p:cTn id="135" dur="1" fill="hold">
                                          <p:stCondLst>
                                            <p:cond delay="0"/>
                                          </p:stCondLst>
                                        </p:cTn>
                                        <p:tgtEl>
                                          <p:spTgt spid="19"/>
                                        </p:tgtEl>
                                        <p:attrNameLst>
                                          <p:attrName>style.visibility</p:attrName>
                                        </p:attrNameLst>
                                      </p:cBhvr>
                                      <p:to>
                                        <p:strVal val="visible"/>
                                      </p:to>
                                    </p:set>
                                    <p:animEffect transition="in" filter="wipe(left)">
                                      <p:cBhvr>
                                        <p:cTn id="136" dur="2000"/>
                                        <p:tgtEl>
                                          <p:spTgt spid="19"/>
                                        </p:tgtEl>
                                      </p:cBhvr>
                                    </p:animEffect>
                                  </p:childTnLst>
                                </p:cTn>
                              </p:par>
                              <p:par>
                                <p:cTn id="137" presetID="1" presetClass="entr" presetSubtype="0" fill="hold" nodeType="withEffect">
                                  <p:stCondLst>
                                    <p:cond delay="0"/>
                                  </p:stCondLst>
                                  <p:childTnLst>
                                    <p:set>
                                      <p:cBhvr>
                                        <p:cTn id="138" dur="1" fill="hold">
                                          <p:stCondLst>
                                            <p:cond delay="0"/>
                                          </p:stCondLst>
                                        </p:cTn>
                                        <p:tgtEl>
                                          <p:spTgt spid="7"/>
                                        </p:tgtEl>
                                        <p:attrNameLst>
                                          <p:attrName>style.visibility</p:attrName>
                                        </p:attrNameLst>
                                      </p:cBhvr>
                                      <p:to>
                                        <p:strVal val="visible"/>
                                      </p:to>
                                    </p:set>
                                  </p:childTnLst>
                                </p:cTn>
                              </p:par>
                            </p:childTnLst>
                          </p:cTn>
                        </p:par>
                        <p:par>
                          <p:cTn id="139" fill="hold">
                            <p:stCondLst>
                              <p:cond delay="4000"/>
                            </p:stCondLst>
                            <p:childTnLst>
                              <p:par>
                                <p:cTn id="140" presetID="22" presetClass="entr" presetSubtype="4" fill="hold" grpId="0" nodeType="afterEffect">
                                  <p:stCondLst>
                                    <p:cond delay="0"/>
                                  </p:stCondLst>
                                  <p:childTnLst>
                                    <p:set>
                                      <p:cBhvr>
                                        <p:cTn id="141" dur="1" fill="hold">
                                          <p:stCondLst>
                                            <p:cond delay="0"/>
                                          </p:stCondLst>
                                        </p:cTn>
                                        <p:tgtEl>
                                          <p:spTgt spid="20"/>
                                        </p:tgtEl>
                                        <p:attrNameLst>
                                          <p:attrName>style.visibility</p:attrName>
                                        </p:attrNameLst>
                                      </p:cBhvr>
                                      <p:to>
                                        <p:strVal val="visible"/>
                                      </p:to>
                                    </p:set>
                                    <p:animEffect transition="in" filter="wipe(down)">
                                      <p:cBhvr>
                                        <p:cTn id="142" dur="500"/>
                                        <p:tgtEl>
                                          <p:spTgt spid="20"/>
                                        </p:tgtEl>
                                      </p:cBhvr>
                                    </p:animEffect>
                                  </p:childTnLst>
                                </p:cTn>
                              </p:par>
                            </p:childTnLst>
                          </p:cTn>
                        </p:par>
                        <p:par>
                          <p:cTn id="143" fill="hold">
                            <p:stCondLst>
                              <p:cond delay="4500"/>
                            </p:stCondLst>
                            <p:childTnLst>
                              <p:par>
                                <p:cTn id="144" presetID="22" presetClass="entr" presetSubtype="2" fill="hold" grpId="0" nodeType="afterEffect">
                                  <p:stCondLst>
                                    <p:cond delay="0"/>
                                  </p:stCondLst>
                                  <p:childTnLst>
                                    <p:set>
                                      <p:cBhvr>
                                        <p:cTn id="145" dur="1" fill="hold">
                                          <p:stCondLst>
                                            <p:cond delay="0"/>
                                          </p:stCondLst>
                                        </p:cTn>
                                        <p:tgtEl>
                                          <p:spTgt spid="22"/>
                                        </p:tgtEl>
                                        <p:attrNameLst>
                                          <p:attrName>style.visibility</p:attrName>
                                        </p:attrNameLst>
                                      </p:cBhvr>
                                      <p:to>
                                        <p:strVal val="visible"/>
                                      </p:to>
                                    </p:set>
                                    <p:animEffect transition="in" filter="wipe(right)">
                                      <p:cBhvr>
                                        <p:cTn id="146" dur="500"/>
                                        <p:tgtEl>
                                          <p:spTgt spid="22"/>
                                        </p:tgtEl>
                                      </p:cBhvr>
                                    </p:animEffect>
                                  </p:childTnLst>
                                </p:cTn>
                              </p:par>
                            </p:childTnLst>
                          </p:cTn>
                        </p:par>
                        <p:par>
                          <p:cTn id="147" fill="hold">
                            <p:stCondLst>
                              <p:cond delay="5000"/>
                            </p:stCondLst>
                            <p:childTnLst>
                              <p:par>
                                <p:cTn id="148" presetID="22" presetClass="entr" presetSubtype="2" fill="hold" grpId="0" nodeType="afterEffect">
                                  <p:stCondLst>
                                    <p:cond delay="0"/>
                                  </p:stCondLst>
                                  <p:childTnLst>
                                    <p:set>
                                      <p:cBhvr>
                                        <p:cTn id="149" dur="1" fill="hold">
                                          <p:stCondLst>
                                            <p:cond delay="0"/>
                                          </p:stCondLst>
                                        </p:cTn>
                                        <p:tgtEl>
                                          <p:spTgt spid="23"/>
                                        </p:tgtEl>
                                        <p:attrNameLst>
                                          <p:attrName>style.visibility</p:attrName>
                                        </p:attrNameLst>
                                      </p:cBhvr>
                                      <p:to>
                                        <p:strVal val="visible"/>
                                      </p:to>
                                    </p:set>
                                    <p:animEffect transition="in" filter="wipe(right)">
                                      <p:cBhvr>
                                        <p:cTn id="150" dur="2000"/>
                                        <p:tgtEl>
                                          <p:spTgt spid="23"/>
                                        </p:tgtEl>
                                      </p:cBhvr>
                                    </p:animEffect>
                                  </p:childTnLst>
                                </p:cTn>
                              </p:par>
                            </p:childTnLst>
                          </p:cTn>
                        </p:par>
                        <p:par>
                          <p:cTn id="151" fill="hold">
                            <p:stCondLst>
                              <p:cond delay="7000"/>
                            </p:stCondLst>
                            <p:childTnLst>
                              <p:par>
                                <p:cTn id="152" presetID="1" presetClass="exit" presetSubtype="0" fill="hold" grpId="1" nodeType="afterEffect">
                                  <p:stCondLst>
                                    <p:cond delay="0"/>
                                  </p:stCondLst>
                                  <p:childTnLst>
                                    <p:set>
                                      <p:cBhvr>
                                        <p:cTn id="153" dur="1" fill="hold">
                                          <p:stCondLst>
                                            <p:cond delay="0"/>
                                          </p:stCondLst>
                                        </p:cTn>
                                        <p:tgtEl>
                                          <p:spTgt spid="19"/>
                                        </p:tgtEl>
                                        <p:attrNameLst>
                                          <p:attrName>style.visibility</p:attrName>
                                        </p:attrNameLst>
                                      </p:cBhvr>
                                      <p:to>
                                        <p:strVal val="hidden"/>
                                      </p:to>
                                    </p:set>
                                  </p:childTnLst>
                                </p:cTn>
                              </p:par>
                            </p:childTnLst>
                          </p:cTn>
                        </p:par>
                        <p:par>
                          <p:cTn id="154" fill="hold">
                            <p:stCondLst>
                              <p:cond delay="7000"/>
                            </p:stCondLst>
                            <p:childTnLst>
                              <p:par>
                                <p:cTn id="155" presetID="1" presetClass="exit" presetSubtype="0" fill="hold" grpId="1" nodeType="afterEffect">
                                  <p:stCondLst>
                                    <p:cond delay="0"/>
                                  </p:stCondLst>
                                  <p:childTnLst>
                                    <p:set>
                                      <p:cBhvr>
                                        <p:cTn id="156" dur="1" fill="hold">
                                          <p:stCondLst>
                                            <p:cond delay="0"/>
                                          </p:stCondLst>
                                        </p:cTn>
                                        <p:tgtEl>
                                          <p:spTgt spid="20"/>
                                        </p:tgtEl>
                                        <p:attrNameLst>
                                          <p:attrName>style.visibility</p:attrName>
                                        </p:attrNameLst>
                                      </p:cBhvr>
                                      <p:to>
                                        <p:strVal val="hidden"/>
                                      </p:to>
                                    </p:set>
                                  </p:childTnLst>
                                </p:cTn>
                              </p:par>
                            </p:childTnLst>
                          </p:cTn>
                        </p:par>
                        <p:par>
                          <p:cTn id="157" fill="hold">
                            <p:stCondLst>
                              <p:cond delay="7000"/>
                            </p:stCondLst>
                            <p:childTnLst>
                              <p:par>
                                <p:cTn id="158" presetID="1" presetClass="exit" presetSubtype="0" fill="hold" grpId="1" nodeType="afterEffect">
                                  <p:stCondLst>
                                    <p:cond delay="0"/>
                                  </p:stCondLst>
                                  <p:childTnLst>
                                    <p:set>
                                      <p:cBhvr>
                                        <p:cTn id="159" dur="1" fill="hold">
                                          <p:stCondLst>
                                            <p:cond delay="0"/>
                                          </p:stCondLst>
                                        </p:cTn>
                                        <p:tgtEl>
                                          <p:spTgt spid="22"/>
                                        </p:tgtEl>
                                        <p:attrNameLst>
                                          <p:attrName>style.visibility</p:attrName>
                                        </p:attrNameLst>
                                      </p:cBhvr>
                                      <p:to>
                                        <p:strVal val="hidden"/>
                                      </p:to>
                                    </p:set>
                                  </p:childTnLst>
                                </p:cTn>
                              </p:par>
                            </p:childTnLst>
                          </p:cTn>
                        </p:par>
                        <p:par>
                          <p:cTn id="160" fill="hold">
                            <p:stCondLst>
                              <p:cond delay="7000"/>
                            </p:stCondLst>
                            <p:childTnLst>
                              <p:par>
                                <p:cTn id="161" presetID="1" presetClass="exit" presetSubtype="0" fill="hold" grpId="1" nodeType="afterEffect">
                                  <p:stCondLst>
                                    <p:cond delay="0"/>
                                  </p:stCondLst>
                                  <p:childTnLst>
                                    <p:set>
                                      <p:cBhvr>
                                        <p:cTn id="162" dur="1" fill="hold">
                                          <p:stCondLst>
                                            <p:cond delay="0"/>
                                          </p:stCondLst>
                                        </p:cTn>
                                        <p:tgtEl>
                                          <p:spTgt spid="23"/>
                                        </p:tgtEl>
                                        <p:attrNameLst>
                                          <p:attrName>style.visibility</p:attrName>
                                        </p:attrNameLst>
                                      </p:cBhvr>
                                      <p:to>
                                        <p:strVal val="hidden"/>
                                      </p:to>
                                    </p:set>
                                  </p:childTnLst>
                                </p:cTn>
                              </p:par>
                            </p:childTnLst>
                          </p:cTn>
                        </p:par>
                        <p:par>
                          <p:cTn id="163" fill="hold">
                            <p:stCondLst>
                              <p:cond delay="7000"/>
                            </p:stCondLst>
                            <p:childTnLst>
                              <p:par>
                                <p:cTn id="164" presetID="53" presetClass="entr" presetSubtype="16" fill="hold" nodeType="afterEffect">
                                  <p:stCondLst>
                                    <p:cond delay="0"/>
                                  </p:stCondLst>
                                  <p:childTnLst>
                                    <p:set>
                                      <p:cBhvr>
                                        <p:cTn id="165" dur="1" fill="hold">
                                          <p:stCondLst>
                                            <p:cond delay="0"/>
                                          </p:stCondLst>
                                        </p:cTn>
                                        <p:tgtEl>
                                          <p:spTgt spid="8"/>
                                        </p:tgtEl>
                                        <p:attrNameLst>
                                          <p:attrName>style.visibility</p:attrName>
                                        </p:attrNameLst>
                                      </p:cBhvr>
                                      <p:to>
                                        <p:strVal val="visible"/>
                                      </p:to>
                                    </p:set>
                                    <p:anim calcmode="lin" valueType="num">
                                      <p:cBhvr>
                                        <p:cTn id="166" dur="500" fill="hold"/>
                                        <p:tgtEl>
                                          <p:spTgt spid="8"/>
                                        </p:tgtEl>
                                        <p:attrNameLst>
                                          <p:attrName>ppt_w</p:attrName>
                                        </p:attrNameLst>
                                      </p:cBhvr>
                                      <p:tavLst>
                                        <p:tav tm="0">
                                          <p:val>
                                            <p:fltVal val="0"/>
                                          </p:val>
                                        </p:tav>
                                        <p:tav tm="100000">
                                          <p:val>
                                            <p:strVal val="#ppt_w"/>
                                          </p:val>
                                        </p:tav>
                                      </p:tavLst>
                                    </p:anim>
                                    <p:anim calcmode="lin" valueType="num">
                                      <p:cBhvr>
                                        <p:cTn id="167" dur="500" fill="hold"/>
                                        <p:tgtEl>
                                          <p:spTgt spid="8"/>
                                        </p:tgtEl>
                                        <p:attrNameLst>
                                          <p:attrName>ppt_h</p:attrName>
                                        </p:attrNameLst>
                                      </p:cBhvr>
                                      <p:tavLst>
                                        <p:tav tm="0">
                                          <p:val>
                                            <p:fltVal val="0"/>
                                          </p:val>
                                        </p:tav>
                                        <p:tav tm="100000">
                                          <p:val>
                                            <p:strVal val="#ppt_h"/>
                                          </p:val>
                                        </p:tav>
                                      </p:tavLst>
                                    </p:anim>
                                    <p:animEffect transition="in" filter="fade">
                                      <p:cBhvr>
                                        <p:cTn id="168" dur="500"/>
                                        <p:tgtEl>
                                          <p:spTgt spid="8"/>
                                        </p:tgtEl>
                                      </p:cBhvr>
                                    </p:animEffect>
                                  </p:childTnLst>
                                </p:cTn>
                              </p:par>
                              <p:par>
                                <p:cTn id="169" presetID="22" presetClass="entr" presetSubtype="1" fill="hold" grpId="0" nodeType="withEffect">
                                  <p:stCondLst>
                                    <p:cond delay="0"/>
                                  </p:stCondLst>
                                  <p:childTnLst>
                                    <p:set>
                                      <p:cBhvr>
                                        <p:cTn id="170" dur="1" fill="hold">
                                          <p:stCondLst>
                                            <p:cond delay="0"/>
                                          </p:stCondLst>
                                        </p:cTn>
                                        <p:tgtEl>
                                          <p:spTgt spid="26"/>
                                        </p:tgtEl>
                                        <p:attrNameLst>
                                          <p:attrName>style.visibility</p:attrName>
                                        </p:attrNameLst>
                                      </p:cBhvr>
                                      <p:to>
                                        <p:strVal val="visible"/>
                                      </p:to>
                                    </p:set>
                                    <p:animEffect transition="in" filter="wipe(up)">
                                      <p:cBhvr>
                                        <p:cTn id="171" dur="2000"/>
                                        <p:tgtEl>
                                          <p:spTgt spid="26"/>
                                        </p:tgtEl>
                                      </p:cBhvr>
                                    </p:animEffect>
                                  </p:childTnLst>
                                </p:cTn>
                              </p:par>
                              <p:par>
                                <p:cTn id="172" presetID="22" presetClass="entr" presetSubtype="1" fill="hold" grpId="0" nodeType="withEffect">
                                  <p:stCondLst>
                                    <p:cond delay="0"/>
                                  </p:stCondLst>
                                  <p:childTnLst>
                                    <p:set>
                                      <p:cBhvr>
                                        <p:cTn id="173" dur="1" fill="hold">
                                          <p:stCondLst>
                                            <p:cond delay="0"/>
                                          </p:stCondLst>
                                        </p:cTn>
                                        <p:tgtEl>
                                          <p:spTgt spid="25"/>
                                        </p:tgtEl>
                                        <p:attrNameLst>
                                          <p:attrName>style.visibility</p:attrName>
                                        </p:attrNameLst>
                                      </p:cBhvr>
                                      <p:to>
                                        <p:strVal val="visible"/>
                                      </p:to>
                                    </p:set>
                                    <p:animEffect transition="in" filter="wipe(up)">
                                      <p:cBhvr>
                                        <p:cTn id="174" dur="2000"/>
                                        <p:tgtEl>
                                          <p:spTgt spid="25"/>
                                        </p:tgtEl>
                                      </p:cBhvr>
                                    </p:animEffect>
                                  </p:childTnLst>
                                </p:cTn>
                              </p:par>
                              <p:par>
                                <p:cTn id="175" presetID="22" presetClass="entr" presetSubtype="8" fill="hold" grpId="0" nodeType="withEffect">
                                  <p:stCondLst>
                                    <p:cond delay="0"/>
                                  </p:stCondLst>
                                  <p:childTnLst>
                                    <p:set>
                                      <p:cBhvr>
                                        <p:cTn id="176" dur="1" fill="hold">
                                          <p:stCondLst>
                                            <p:cond delay="0"/>
                                          </p:stCondLst>
                                        </p:cTn>
                                        <p:tgtEl>
                                          <p:spTgt spid="27"/>
                                        </p:tgtEl>
                                        <p:attrNameLst>
                                          <p:attrName>style.visibility</p:attrName>
                                        </p:attrNameLst>
                                      </p:cBhvr>
                                      <p:to>
                                        <p:strVal val="visible"/>
                                      </p:to>
                                    </p:set>
                                    <p:animEffect transition="in" filter="wipe(left)">
                                      <p:cBhvr>
                                        <p:cTn id="177" dur="2000"/>
                                        <p:tgtEl>
                                          <p:spTgt spid="27"/>
                                        </p:tgtEl>
                                      </p:cBhvr>
                                    </p:animEffect>
                                  </p:childTnLst>
                                </p:cTn>
                              </p:par>
                              <p:par>
                                <p:cTn id="178" presetID="22" presetClass="entr" presetSubtype="1" fill="hold" grpId="0" nodeType="withEffect">
                                  <p:stCondLst>
                                    <p:cond delay="0"/>
                                  </p:stCondLst>
                                  <p:childTnLst>
                                    <p:set>
                                      <p:cBhvr>
                                        <p:cTn id="179" dur="1" fill="hold">
                                          <p:stCondLst>
                                            <p:cond delay="0"/>
                                          </p:stCondLst>
                                        </p:cTn>
                                        <p:tgtEl>
                                          <p:spTgt spid="28"/>
                                        </p:tgtEl>
                                        <p:attrNameLst>
                                          <p:attrName>style.visibility</p:attrName>
                                        </p:attrNameLst>
                                      </p:cBhvr>
                                      <p:to>
                                        <p:strVal val="visible"/>
                                      </p:to>
                                    </p:set>
                                    <p:animEffect transition="in" filter="wipe(up)">
                                      <p:cBhvr>
                                        <p:cTn id="180" dur="500"/>
                                        <p:tgtEl>
                                          <p:spTgt spid="28"/>
                                        </p:tgtEl>
                                      </p:cBhvr>
                                    </p:animEffect>
                                  </p:childTnLst>
                                </p:cTn>
                              </p:par>
                            </p:childTnLst>
                          </p:cTn>
                        </p:par>
                        <p:par>
                          <p:cTn id="181" fill="hold">
                            <p:stCondLst>
                              <p:cond delay="9000"/>
                            </p:stCondLst>
                            <p:childTnLst>
                              <p:par>
                                <p:cTn id="182" presetID="1" presetClass="entr" presetSubtype="0" fill="hold" grpId="0" nodeType="afterEffect">
                                  <p:stCondLst>
                                    <p:cond delay="0"/>
                                  </p:stCondLst>
                                  <p:childTnLst>
                                    <p:set>
                                      <p:cBhvr>
                                        <p:cTn id="183" dur="1" fill="hold">
                                          <p:stCondLst>
                                            <p:cond delay="0"/>
                                          </p:stCondLst>
                                        </p:cTn>
                                        <p:tgtEl>
                                          <p:spTgt spid="29"/>
                                        </p:tgtEl>
                                        <p:attrNameLst>
                                          <p:attrName>style.visibility</p:attrName>
                                        </p:attrNameLst>
                                      </p:cBhvr>
                                      <p:to>
                                        <p:strVal val="visible"/>
                                      </p:to>
                                    </p:set>
                                  </p:childTnLst>
                                </p:cTn>
                              </p:par>
                            </p:childTnLst>
                          </p:cTn>
                        </p:par>
                        <p:par>
                          <p:cTn id="184" fill="hold">
                            <p:stCondLst>
                              <p:cond delay="9000"/>
                            </p:stCondLst>
                            <p:childTnLst>
                              <p:par>
                                <p:cTn id="185" presetID="1" presetClass="exit" presetSubtype="0" fill="hold" grpId="1" nodeType="afterEffect">
                                  <p:stCondLst>
                                    <p:cond delay="0"/>
                                  </p:stCondLst>
                                  <p:childTnLst>
                                    <p:set>
                                      <p:cBhvr>
                                        <p:cTn id="186" dur="1" fill="hold">
                                          <p:stCondLst>
                                            <p:cond delay="0"/>
                                          </p:stCondLst>
                                        </p:cTn>
                                        <p:tgtEl>
                                          <p:spTgt spid="26"/>
                                        </p:tgtEl>
                                        <p:attrNameLst>
                                          <p:attrName>style.visibility</p:attrName>
                                        </p:attrNameLst>
                                      </p:cBhvr>
                                      <p:to>
                                        <p:strVal val="hidden"/>
                                      </p:to>
                                    </p:set>
                                  </p:childTnLst>
                                </p:cTn>
                              </p:par>
                              <p:par>
                                <p:cTn id="187" presetID="1" presetClass="exit" presetSubtype="0" fill="hold" grpId="1" nodeType="withEffect">
                                  <p:stCondLst>
                                    <p:cond delay="0"/>
                                  </p:stCondLst>
                                  <p:childTnLst>
                                    <p:set>
                                      <p:cBhvr>
                                        <p:cTn id="188" dur="1" fill="hold">
                                          <p:stCondLst>
                                            <p:cond delay="0"/>
                                          </p:stCondLst>
                                        </p:cTn>
                                        <p:tgtEl>
                                          <p:spTgt spid="25"/>
                                        </p:tgtEl>
                                        <p:attrNameLst>
                                          <p:attrName>style.visibility</p:attrName>
                                        </p:attrNameLst>
                                      </p:cBhvr>
                                      <p:to>
                                        <p:strVal val="hidden"/>
                                      </p:to>
                                    </p:set>
                                  </p:childTnLst>
                                </p:cTn>
                              </p:par>
                              <p:par>
                                <p:cTn id="189" presetID="1" presetClass="exit" presetSubtype="0" fill="hold" grpId="1" nodeType="withEffect">
                                  <p:stCondLst>
                                    <p:cond delay="0"/>
                                  </p:stCondLst>
                                  <p:childTnLst>
                                    <p:set>
                                      <p:cBhvr>
                                        <p:cTn id="190" dur="1" fill="hold">
                                          <p:stCondLst>
                                            <p:cond delay="0"/>
                                          </p:stCondLst>
                                        </p:cTn>
                                        <p:tgtEl>
                                          <p:spTgt spid="27"/>
                                        </p:tgtEl>
                                        <p:attrNameLst>
                                          <p:attrName>style.visibility</p:attrName>
                                        </p:attrNameLst>
                                      </p:cBhvr>
                                      <p:to>
                                        <p:strVal val="hidden"/>
                                      </p:to>
                                    </p:set>
                                  </p:childTnLst>
                                </p:cTn>
                              </p:par>
                              <p:par>
                                <p:cTn id="191" presetID="1" presetClass="exit" presetSubtype="0" fill="hold" grpId="1" nodeType="withEffect">
                                  <p:stCondLst>
                                    <p:cond delay="0"/>
                                  </p:stCondLst>
                                  <p:childTnLst>
                                    <p:set>
                                      <p:cBhvr>
                                        <p:cTn id="192" dur="1" fill="hold">
                                          <p:stCondLst>
                                            <p:cond delay="0"/>
                                          </p:stCondLst>
                                        </p:cTn>
                                        <p:tgtEl>
                                          <p:spTgt spid="28"/>
                                        </p:tgtEl>
                                        <p:attrNameLst>
                                          <p:attrName>style.visibility</p:attrName>
                                        </p:attrNameLst>
                                      </p:cBhvr>
                                      <p:to>
                                        <p:strVal val="hidden"/>
                                      </p:to>
                                    </p:set>
                                  </p:childTnLst>
                                </p:cTn>
                              </p:par>
                            </p:childTnLst>
                          </p:cTn>
                        </p:par>
                        <p:par>
                          <p:cTn id="193" fill="hold">
                            <p:stCondLst>
                              <p:cond delay="9000"/>
                            </p:stCondLst>
                            <p:childTnLst>
                              <p:par>
                                <p:cTn id="194" presetID="53" presetClass="entr" presetSubtype="16" fill="hold" nodeType="afterEffect">
                                  <p:stCondLst>
                                    <p:cond delay="0"/>
                                  </p:stCondLst>
                                  <p:childTnLst>
                                    <p:set>
                                      <p:cBhvr>
                                        <p:cTn id="195" dur="1" fill="hold">
                                          <p:stCondLst>
                                            <p:cond delay="0"/>
                                          </p:stCondLst>
                                        </p:cTn>
                                        <p:tgtEl>
                                          <p:spTgt spid="10"/>
                                        </p:tgtEl>
                                        <p:attrNameLst>
                                          <p:attrName>style.visibility</p:attrName>
                                        </p:attrNameLst>
                                      </p:cBhvr>
                                      <p:to>
                                        <p:strVal val="visible"/>
                                      </p:to>
                                    </p:set>
                                    <p:anim calcmode="lin" valueType="num">
                                      <p:cBhvr>
                                        <p:cTn id="196" dur="500" fill="hold"/>
                                        <p:tgtEl>
                                          <p:spTgt spid="10"/>
                                        </p:tgtEl>
                                        <p:attrNameLst>
                                          <p:attrName>ppt_w</p:attrName>
                                        </p:attrNameLst>
                                      </p:cBhvr>
                                      <p:tavLst>
                                        <p:tav tm="0">
                                          <p:val>
                                            <p:fltVal val="0"/>
                                          </p:val>
                                        </p:tav>
                                        <p:tav tm="100000">
                                          <p:val>
                                            <p:strVal val="#ppt_w"/>
                                          </p:val>
                                        </p:tav>
                                      </p:tavLst>
                                    </p:anim>
                                    <p:anim calcmode="lin" valueType="num">
                                      <p:cBhvr>
                                        <p:cTn id="197" dur="500" fill="hold"/>
                                        <p:tgtEl>
                                          <p:spTgt spid="10"/>
                                        </p:tgtEl>
                                        <p:attrNameLst>
                                          <p:attrName>ppt_h</p:attrName>
                                        </p:attrNameLst>
                                      </p:cBhvr>
                                      <p:tavLst>
                                        <p:tav tm="0">
                                          <p:val>
                                            <p:fltVal val="0"/>
                                          </p:val>
                                        </p:tav>
                                        <p:tav tm="100000">
                                          <p:val>
                                            <p:strVal val="#ppt_h"/>
                                          </p:val>
                                        </p:tav>
                                      </p:tavLst>
                                    </p:anim>
                                    <p:animEffect transition="in" filter="fade">
                                      <p:cBhvr>
                                        <p:cTn id="198" dur="500"/>
                                        <p:tgtEl>
                                          <p:spTgt spid="10"/>
                                        </p:tgtEl>
                                      </p:cBhvr>
                                    </p:animEffect>
                                  </p:childTnLst>
                                </p:cTn>
                              </p:par>
                            </p:childTnLst>
                          </p:cTn>
                        </p:par>
                        <p:par>
                          <p:cTn id="199" fill="hold">
                            <p:stCondLst>
                              <p:cond delay="9500"/>
                            </p:stCondLst>
                            <p:childTnLst>
                              <p:par>
                                <p:cTn id="200" presetID="1" presetClass="entr" presetSubtype="0" fill="hold" grpId="0" nodeType="afterEffect">
                                  <p:stCondLst>
                                    <p:cond delay="0"/>
                                  </p:stCondLst>
                                  <p:childTnLst>
                                    <p:set>
                                      <p:cBhvr>
                                        <p:cTn id="201" dur="1" fill="hold">
                                          <p:stCondLst>
                                            <p:cond delay="0"/>
                                          </p:stCondLst>
                                        </p:cTn>
                                        <p:tgtEl>
                                          <p:spTgt spid="30"/>
                                        </p:tgtEl>
                                        <p:attrNameLst>
                                          <p:attrName>style.visibility</p:attrName>
                                        </p:attrNameLst>
                                      </p:cBhvr>
                                      <p:to>
                                        <p:strVal val="visible"/>
                                      </p:to>
                                    </p:set>
                                  </p:childTnLst>
                                </p:cTn>
                              </p:par>
                              <p:par>
                                <p:cTn id="202" presetID="1" presetClass="entr" presetSubtype="0" fill="hold" grpId="0" nodeType="withEffect">
                                  <p:stCondLst>
                                    <p:cond delay="0"/>
                                  </p:stCondLst>
                                  <p:childTnLst>
                                    <p:set>
                                      <p:cBhvr>
                                        <p:cTn id="203" dur="1" fill="hold">
                                          <p:stCondLst>
                                            <p:cond delay="0"/>
                                          </p:stCondLst>
                                        </p:cTn>
                                        <p:tgtEl>
                                          <p:spTgt spid="31"/>
                                        </p:tgtEl>
                                        <p:attrNameLst>
                                          <p:attrName>style.visibility</p:attrName>
                                        </p:attrNameLst>
                                      </p:cBhvr>
                                      <p:to>
                                        <p:strVal val="visible"/>
                                      </p:to>
                                    </p:set>
                                  </p:childTnLst>
                                </p:cTn>
                              </p:par>
                              <p:par>
                                <p:cTn id="204" presetID="1" presetClass="entr" presetSubtype="0" fill="hold" grpId="0" nodeType="withEffect">
                                  <p:stCondLst>
                                    <p:cond delay="0"/>
                                  </p:stCondLst>
                                  <p:childTnLst>
                                    <p:set>
                                      <p:cBhvr>
                                        <p:cTn id="205" dur="1" fill="hold">
                                          <p:stCondLst>
                                            <p:cond delay="0"/>
                                          </p:stCondLst>
                                        </p:cTn>
                                        <p:tgtEl>
                                          <p:spTgt spid="32"/>
                                        </p:tgtEl>
                                        <p:attrNameLst>
                                          <p:attrName>style.visibility</p:attrName>
                                        </p:attrNameLst>
                                      </p:cBhvr>
                                      <p:to>
                                        <p:strVal val="visible"/>
                                      </p:to>
                                    </p:set>
                                  </p:childTnLst>
                                </p:cTn>
                              </p:par>
                              <p:par>
                                <p:cTn id="206" presetID="1" presetClass="entr" presetSubtype="0" fill="hold" grpId="0" nodeType="withEffect">
                                  <p:stCondLst>
                                    <p:cond delay="0"/>
                                  </p:stCondLst>
                                  <p:childTnLst>
                                    <p:set>
                                      <p:cBhvr>
                                        <p:cTn id="207" dur="1" fill="hold">
                                          <p:stCondLst>
                                            <p:cond delay="0"/>
                                          </p:stCondLst>
                                        </p:cTn>
                                        <p:tgtEl>
                                          <p:spTgt spid="33"/>
                                        </p:tgtEl>
                                        <p:attrNameLst>
                                          <p:attrName>style.visibility</p:attrName>
                                        </p:attrNameLst>
                                      </p:cBhvr>
                                      <p:to>
                                        <p:strVal val="visible"/>
                                      </p:to>
                                    </p:set>
                                  </p:childTnLst>
                                </p:cTn>
                              </p:par>
                              <p:par>
                                <p:cTn id="208" presetID="1" presetClass="entr" presetSubtype="0" fill="hold" grpId="0" nodeType="withEffect">
                                  <p:stCondLst>
                                    <p:cond delay="0"/>
                                  </p:stCondLst>
                                  <p:childTnLst>
                                    <p:set>
                                      <p:cBhvr>
                                        <p:cTn id="209" dur="1" fill="hold">
                                          <p:stCondLst>
                                            <p:cond delay="0"/>
                                          </p:stCondLst>
                                        </p:cTn>
                                        <p:tgtEl>
                                          <p:spTgt spid="34"/>
                                        </p:tgtEl>
                                        <p:attrNameLst>
                                          <p:attrName>style.visibility</p:attrName>
                                        </p:attrNameLst>
                                      </p:cBhvr>
                                      <p:to>
                                        <p:strVal val="visible"/>
                                      </p:to>
                                    </p:set>
                                  </p:childTnLst>
                                </p:cTn>
                              </p:par>
                              <p:par>
                                <p:cTn id="210" presetID="1" presetClass="entr" presetSubtype="0" fill="hold" grpId="0" nodeType="withEffect">
                                  <p:stCondLst>
                                    <p:cond delay="0"/>
                                  </p:stCondLst>
                                  <p:childTnLst>
                                    <p:set>
                                      <p:cBhvr>
                                        <p:cTn id="211" dur="1" fill="hold">
                                          <p:stCondLst>
                                            <p:cond delay="0"/>
                                          </p:stCondLst>
                                        </p:cTn>
                                        <p:tgtEl>
                                          <p:spTgt spid="35"/>
                                        </p:tgtEl>
                                        <p:attrNameLst>
                                          <p:attrName>style.visibility</p:attrName>
                                        </p:attrNameLst>
                                      </p:cBhvr>
                                      <p:to>
                                        <p:strVal val="visible"/>
                                      </p:to>
                                    </p:set>
                                  </p:childTnLst>
                                </p:cTn>
                              </p:par>
                              <p:par>
                                <p:cTn id="212" presetID="1" presetClass="entr" presetSubtype="0" fill="hold" grpId="0" nodeType="withEffect">
                                  <p:stCondLst>
                                    <p:cond delay="2000"/>
                                  </p:stCondLst>
                                  <p:childTnLst>
                                    <p:set>
                                      <p:cBhvr>
                                        <p:cTn id="213" dur="1" fill="hold">
                                          <p:stCondLst>
                                            <p:cond delay="0"/>
                                          </p:stCondLst>
                                        </p:cTn>
                                        <p:tgtEl>
                                          <p:spTgt spid="36"/>
                                        </p:tgtEl>
                                        <p:attrNameLst>
                                          <p:attrName>style.visibility</p:attrName>
                                        </p:attrNameLst>
                                      </p:cBhvr>
                                      <p:to>
                                        <p:strVal val="visible"/>
                                      </p:to>
                                    </p:set>
                                  </p:childTnLst>
                                </p:cTn>
                              </p:par>
                            </p:childTnLst>
                          </p:cTn>
                        </p:par>
                        <p:par>
                          <p:cTn id="214" fill="hold">
                            <p:stCondLst>
                              <p:cond delay="11500"/>
                            </p:stCondLst>
                            <p:childTnLst>
                              <p:par>
                                <p:cTn id="215" presetID="1" presetClass="exit" presetSubtype="0" fill="hold" grpId="1" nodeType="afterEffect">
                                  <p:stCondLst>
                                    <p:cond delay="2000"/>
                                  </p:stCondLst>
                                  <p:childTnLst>
                                    <p:set>
                                      <p:cBhvr>
                                        <p:cTn id="216" dur="1" fill="hold">
                                          <p:stCondLst>
                                            <p:cond delay="0"/>
                                          </p:stCondLst>
                                        </p:cTn>
                                        <p:tgtEl>
                                          <p:spTgt spid="29"/>
                                        </p:tgtEl>
                                        <p:attrNameLst>
                                          <p:attrName>style.visibility</p:attrName>
                                        </p:attrNameLst>
                                      </p:cBhvr>
                                      <p:to>
                                        <p:strVal val="hidden"/>
                                      </p:to>
                                    </p:set>
                                  </p:childTnLst>
                                </p:cTn>
                              </p:par>
                              <p:par>
                                <p:cTn id="217" presetID="1" presetClass="exit" presetSubtype="0" fill="hold" grpId="1" nodeType="withEffect">
                                  <p:stCondLst>
                                    <p:cond delay="2000"/>
                                  </p:stCondLst>
                                  <p:childTnLst>
                                    <p:set>
                                      <p:cBhvr>
                                        <p:cTn id="218" dur="1" fill="hold">
                                          <p:stCondLst>
                                            <p:cond delay="0"/>
                                          </p:stCondLst>
                                        </p:cTn>
                                        <p:tgtEl>
                                          <p:spTgt spid="30"/>
                                        </p:tgtEl>
                                        <p:attrNameLst>
                                          <p:attrName>style.visibility</p:attrName>
                                        </p:attrNameLst>
                                      </p:cBhvr>
                                      <p:to>
                                        <p:strVal val="hidden"/>
                                      </p:to>
                                    </p:set>
                                  </p:childTnLst>
                                </p:cTn>
                              </p:par>
                              <p:par>
                                <p:cTn id="219" presetID="1" presetClass="exit" presetSubtype="0" fill="hold" grpId="1" nodeType="withEffect">
                                  <p:stCondLst>
                                    <p:cond delay="2000"/>
                                  </p:stCondLst>
                                  <p:childTnLst>
                                    <p:set>
                                      <p:cBhvr>
                                        <p:cTn id="220" dur="1" fill="hold">
                                          <p:stCondLst>
                                            <p:cond delay="0"/>
                                          </p:stCondLst>
                                        </p:cTn>
                                        <p:tgtEl>
                                          <p:spTgt spid="31"/>
                                        </p:tgtEl>
                                        <p:attrNameLst>
                                          <p:attrName>style.visibility</p:attrName>
                                        </p:attrNameLst>
                                      </p:cBhvr>
                                      <p:to>
                                        <p:strVal val="hidden"/>
                                      </p:to>
                                    </p:set>
                                  </p:childTnLst>
                                </p:cTn>
                              </p:par>
                              <p:par>
                                <p:cTn id="221" presetID="1" presetClass="exit" presetSubtype="0" fill="hold" grpId="1" nodeType="withEffect">
                                  <p:stCondLst>
                                    <p:cond delay="2000"/>
                                  </p:stCondLst>
                                  <p:childTnLst>
                                    <p:set>
                                      <p:cBhvr>
                                        <p:cTn id="222" dur="1" fill="hold">
                                          <p:stCondLst>
                                            <p:cond delay="0"/>
                                          </p:stCondLst>
                                        </p:cTn>
                                        <p:tgtEl>
                                          <p:spTgt spid="32"/>
                                        </p:tgtEl>
                                        <p:attrNameLst>
                                          <p:attrName>style.visibility</p:attrName>
                                        </p:attrNameLst>
                                      </p:cBhvr>
                                      <p:to>
                                        <p:strVal val="hidden"/>
                                      </p:to>
                                    </p:set>
                                  </p:childTnLst>
                                </p:cTn>
                              </p:par>
                              <p:par>
                                <p:cTn id="223" presetID="1" presetClass="exit" presetSubtype="0" fill="hold" grpId="1" nodeType="withEffect">
                                  <p:stCondLst>
                                    <p:cond delay="2000"/>
                                  </p:stCondLst>
                                  <p:childTnLst>
                                    <p:set>
                                      <p:cBhvr>
                                        <p:cTn id="224" dur="1" fill="hold">
                                          <p:stCondLst>
                                            <p:cond delay="0"/>
                                          </p:stCondLst>
                                        </p:cTn>
                                        <p:tgtEl>
                                          <p:spTgt spid="33"/>
                                        </p:tgtEl>
                                        <p:attrNameLst>
                                          <p:attrName>style.visibility</p:attrName>
                                        </p:attrNameLst>
                                      </p:cBhvr>
                                      <p:to>
                                        <p:strVal val="hidden"/>
                                      </p:to>
                                    </p:set>
                                  </p:childTnLst>
                                </p:cTn>
                              </p:par>
                              <p:par>
                                <p:cTn id="225" presetID="1" presetClass="exit" presetSubtype="0" fill="hold" grpId="1" nodeType="withEffect">
                                  <p:stCondLst>
                                    <p:cond delay="2000"/>
                                  </p:stCondLst>
                                  <p:childTnLst>
                                    <p:set>
                                      <p:cBhvr>
                                        <p:cTn id="226" dur="1" fill="hold">
                                          <p:stCondLst>
                                            <p:cond delay="0"/>
                                          </p:stCondLst>
                                        </p:cTn>
                                        <p:tgtEl>
                                          <p:spTgt spid="34"/>
                                        </p:tgtEl>
                                        <p:attrNameLst>
                                          <p:attrName>style.visibility</p:attrName>
                                        </p:attrNameLst>
                                      </p:cBhvr>
                                      <p:to>
                                        <p:strVal val="hidden"/>
                                      </p:to>
                                    </p:set>
                                  </p:childTnLst>
                                </p:cTn>
                              </p:par>
                              <p:par>
                                <p:cTn id="227" presetID="1" presetClass="exit" presetSubtype="0" fill="hold" grpId="1" nodeType="withEffect">
                                  <p:stCondLst>
                                    <p:cond delay="2000"/>
                                  </p:stCondLst>
                                  <p:childTnLst>
                                    <p:set>
                                      <p:cBhvr>
                                        <p:cTn id="228" dur="1" fill="hold">
                                          <p:stCondLst>
                                            <p:cond delay="0"/>
                                          </p:stCondLst>
                                        </p:cTn>
                                        <p:tgtEl>
                                          <p:spTgt spid="35"/>
                                        </p:tgtEl>
                                        <p:attrNameLst>
                                          <p:attrName>style.visibility</p:attrName>
                                        </p:attrNameLst>
                                      </p:cBhvr>
                                      <p:to>
                                        <p:strVal val="hidden"/>
                                      </p:to>
                                    </p:set>
                                  </p:childTnLst>
                                </p:cTn>
                              </p:par>
                              <p:par>
                                <p:cTn id="229" presetID="1" presetClass="exit" presetSubtype="0" fill="hold" grpId="1" nodeType="withEffect">
                                  <p:stCondLst>
                                    <p:cond delay="2000"/>
                                  </p:stCondLst>
                                  <p:childTnLst>
                                    <p:set>
                                      <p:cBhvr>
                                        <p:cTn id="230" dur="1" fill="hold">
                                          <p:stCondLst>
                                            <p:cond delay="0"/>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P spid="22" grpId="0" animBg="1"/>
      <p:bldP spid="22" grpId="1" animBg="1"/>
      <p:bldP spid="23" grpId="0" animBg="1"/>
      <p:bldP spid="23"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8" name="Shape 118"/>
          <p:cNvSpPr txBox="1">
            <a:spLocks noGrp="1"/>
          </p:cNvSpPr>
          <p:nvPr>
            <p:ph type="title"/>
          </p:nvPr>
        </p:nvSpPr>
        <p:spPr>
          <a:xfrm>
            <a:off x="1784681" y="389850"/>
            <a:ext cx="10188951" cy="571321"/>
          </a:xfrm>
          <a:prstGeom prst="rect">
            <a:avLst/>
          </a:prstGeom>
          <a:noFill/>
          <a:ln>
            <a:noFill/>
          </a:ln>
        </p:spPr>
        <p:txBody>
          <a:bodyPr spcFirstLastPara="1" wrap="square" lIns="0" tIns="0" rIns="0" bIns="0" anchor="b" anchorCtr="0">
            <a:noAutofit/>
          </a:bodyPr>
          <a:lstStyle/>
          <a:p>
            <a:pPr lvl="0"/>
            <a:r>
              <a:rPr lang="de-DE" sz="3100"/>
              <a:t>Die </a:t>
            </a:r>
            <a:r>
              <a:rPr lang="de-DE" sz="3100">
                <a:solidFill>
                  <a:schemeClr val="accent1"/>
                </a:solidFill>
              </a:rPr>
              <a:t>System-Architektur</a:t>
            </a:r>
            <a:r>
              <a:rPr lang="de-DE" sz="3100" b="0" i="0" u="none" strike="noStrike" cap="none">
                <a:solidFill>
                  <a:schemeClr val="accent1"/>
                </a:solidFill>
                <a:latin typeface="Arial"/>
                <a:ea typeface="Arial"/>
                <a:cs typeface="Arial"/>
                <a:sym typeface="Arial"/>
              </a:rPr>
              <a:t> </a:t>
            </a:r>
            <a:r>
              <a:rPr lang="de-DE" sz="3100" b="0" i="0" u="none" strike="noStrike" cap="none">
                <a:solidFill>
                  <a:schemeClr val="lt2"/>
                </a:solidFill>
                <a:latin typeface="Arial"/>
                <a:ea typeface="Arial"/>
                <a:cs typeface="Arial"/>
                <a:sym typeface="Arial"/>
              </a:rPr>
              <a:t>von </a:t>
            </a:r>
            <a:r>
              <a:rPr lang="de-DE" sz="3100" b="0" i="0" u="none" strike="noStrike" cap="none" err="1">
                <a:solidFill>
                  <a:schemeClr val="lt2"/>
                </a:solidFill>
                <a:latin typeface="Arial"/>
                <a:ea typeface="Arial"/>
                <a:cs typeface="Arial"/>
                <a:sym typeface="Arial"/>
              </a:rPr>
              <a:t>Agathon</a:t>
            </a:r>
            <a:r>
              <a:rPr lang="de-DE" sz="3100" b="0" i="0" u="none" strike="noStrike" cap="none">
                <a:solidFill>
                  <a:schemeClr val="lt2"/>
                </a:solidFill>
                <a:latin typeface="Arial"/>
                <a:ea typeface="Arial"/>
                <a:cs typeface="Arial"/>
                <a:sym typeface="Arial"/>
              </a:rPr>
              <a:t> Live Status</a:t>
            </a:r>
            <a:endParaRPr sz="3100" b="0" i="0" u="none" strike="noStrike" cap="none">
              <a:solidFill>
                <a:schemeClr val="bg2"/>
              </a:solidFill>
              <a:sym typeface="Arial"/>
            </a:endParaRPr>
          </a:p>
        </p:txBody>
      </p:sp>
      <p:pic>
        <p:nvPicPr>
          <p:cNvPr id="2" name="Picture 1">
            <a:extLst>
              <a:ext uri="{FF2B5EF4-FFF2-40B4-BE49-F238E27FC236}">
                <a16:creationId xmlns:a16="http://schemas.microsoft.com/office/drawing/2014/main" id="{EE3E78EB-F368-4E52-930E-1F4A2E00C64E}"/>
              </a:ext>
            </a:extLst>
          </p:cNvPr>
          <p:cNvPicPr>
            <a:picLocks noChangeAspect="1"/>
          </p:cNvPicPr>
          <p:nvPr/>
        </p:nvPicPr>
        <p:blipFill>
          <a:blip r:embed="rId3"/>
          <a:stretch>
            <a:fillRect/>
          </a:stretch>
        </p:blipFill>
        <p:spPr>
          <a:xfrm>
            <a:off x="1475181" y="986335"/>
            <a:ext cx="9241637" cy="5871665"/>
          </a:xfrm>
          <a:prstGeom prst="rect">
            <a:avLst/>
          </a:prstGeom>
        </p:spPr>
      </p:pic>
    </p:spTree>
    <p:extLst>
      <p:ext uri="{BB962C8B-B14F-4D97-AF65-F5344CB8AC3E}">
        <p14:creationId xmlns:p14="http://schemas.microsoft.com/office/powerpoint/2010/main" val="4879919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334D66-7B05-4AC4-8C03-40CE05B8217D}"/>
              </a:ext>
            </a:extLst>
          </p:cNvPr>
          <p:cNvSpPr>
            <a:spLocks noGrp="1"/>
          </p:cNvSpPr>
          <p:nvPr>
            <p:ph type="body" idx="1"/>
          </p:nvPr>
        </p:nvSpPr>
        <p:spPr/>
        <p:txBody>
          <a:bodyPr/>
          <a:lstStyle/>
          <a:p>
            <a:endParaRPr lang="de-CH"/>
          </a:p>
        </p:txBody>
      </p:sp>
      <p:sp>
        <p:nvSpPr>
          <p:cNvPr id="3" name="Title 2">
            <a:extLst>
              <a:ext uri="{FF2B5EF4-FFF2-40B4-BE49-F238E27FC236}">
                <a16:creationId xmlns:a16="http://schemas.microsoft.com/office/drawing/2014/main" id="{9C92948B-4FDC-47A3-B7C9-350CE3FED558}"/>
              </a:ext>
            </a:extLst>
          </p:cNvPr>
          <p:cNvSpPr>
            <a:spLocks noGrp="1"/>
          </p:cNvSpPr>
          <p:nvPr>
            <p:ph type="title"/>
          </p:nvPr>
        </p:nvSpPr>
        <p:spPr/>
        <p:txBody>
          <a:bodyPr>
            <a:normAutofit fontScale="90000"/>
          </a:bodyPr>
          <a:lstStyle/>
          <a:p>
            <a:r>
              <a:rPr lang="de-DE" sz="3600">
                <a:solidFill>
                  <a:schemeClr val="accent1"/>
                </a:solidFill>
              </a:rPr>
              <a:t>Mengengerüst</a:t>
            </a:r>
            <a:r>
              <a:rPr lang="de-DE" sz="3600"/>
              <a:t> der Nachrichten</a:t>
            </a:r>
            <a:endParaRPr lang="de-CH"/>
          </a:p>
        </p:txBody>
      </p:sp>
      <p:graphicFrame>
        <p:nvGraphicFramePr>
          <p:cNvPr id="4" name="Shape 126">
            <a:extLst>
              <a:ext uri="{FF2B5EF4-FFF2-40B4-BE49-F238E27FC236}">
                <a16:creationId xmlns:a16="http://schemas.microsoft.com/office/drawing/2014/main" id="{91B76A6E-93C7-44A7-BFF6-510058826E0A}"/>
              </a:ext>
            </a:extLst>
          </p:cNvPr>
          <p:cNvGraphicFramePr/>
          <p:nvPr>
            <p:extLst>
              <p:ext uri="{D42A27DB-BD31-4B8C-83A1-F6EECF244321}">
                <p14:modId xmlns:p14="http://schemas.microsoft.com/office/powerpoint/2010/main" val="2789335356"/>
              </p:ext>
            </p:extLst>
          </p:nvPr>
        </p:nvGraphicFramePr>
        <p:xfrm>
          <a:off x="1520371" y="1886025"/>
          <a:ext cx="9151258" cy="3916064"/>
        </p:xfrm>
        <a:graphic>
          <a:graphicData uri="http://schemas.openxmlformats.org/drawingml/2006/table">
            <a:tbl>
              <a:tblPr firstRow="1" bandRow="1">
                <a:noFill/>
              </a:tblPr>
              <a:tblGrid>
                <a:gridCol w="1809192">
                  <a:extLst>
                    <a:ext uri="{9D8B030D-6E8A-4147-A177-3AD203B41FA5}">
                      <a16:colId xmlns:a16="http://schemas.microsoft.com/office/drawing/2014/main" val="20000"/>
                    </a:ext>
                  </a:extLst>
                </a:gridCol>
                <a:gridCol w="5607921">
                  <a:extLst>
                    <a:ext uri="{9D8B030D-6E8A-4147-A177-3AD203B41FA5}">
                      <a16:colId xmlns:a16="http://schemas.microsoft.com/office/drawing/2014/main" val="20001"/>
                    </a:ext>
                  </a:extLst>
                </a:gridCol>
                <a:gridCol w="1734145">
                  <a:extLst>
                    <a:ext uri="{9D8B030D-6E8A-4147-A177-3AD203B41FA5}">
                      <a16:colId xmlns:a16="http://schemas.microsoft.com/office/drawing/2014/main" val="20002"/>
                    </a:ext>
                  </a:extLst>
                </a:gridCol>
              </a:tblGrid>
              <a:tr h="378940">
                <a:tc>
                  <a:txBody>
                    <a:bodyPr/>
                    <a:lstStyle/>
                    <a:p>
                      <a:pPr marL="0" marR="0" lvl="0" indent="0" algn="l" rtl="0">
                        <a:spcBef>
                          <a:spcPts val="0"/>
                        </a:spcBef>
                        <a:spcAft>
                          <a:spcPts val="0"/>
                        </a:spcAft>
                        <a:buNone/>
                      </a:pPr>
                      <a:r>
                        <a:rPr lang="de-DE" sz="1800">
                          <a:solidFill>
                            <a:schemeClr val="bg1"/>
                          </a:solidFill>
                          <a:latin typeface="Arial"/>
                          <a:ea typeface="Arial"/>
                          <a:cs typeface="Arial"/>
                          <a:sym typeface="Arial"/>
                        </a:rPr>
                        <a:t>Nachricht</a:t>
                      </a:r>
                      <a:endParaRPr>
                        <a:solidFill>
                          <a:schemeClr val="bg1"/>
                        </a:solidFill>
                      </a:endParaRPr>
                    </a:p>
                  </a:txBody>
                  <a:tcPr marL="91450" marR="91450" marT="45725" marB="45725" anchor="ctr">
                    <a:solidFill>
                      <a:schemeClr val="dk2"/>
                    </a:solidFill>
                  </a:tcPr>
                </a:tc>
                <a:tc>
                  <a:txBody>
                    <a:bodyPr/>
                    <a:lstStyle/>
                    <a:p>
                      <a:pPr marL="0" marR="0" lvl="0" indent="0" algn="l" rtl="0">
                        <a:spcBef>
                          <a:spcPts val="0"/>
                        </a:spcBef>
                        <a:spcAft>
                          <a:spcPts val="0"/>
                        </a:spcAft>
                        <a:buNone/>
                      </a:pPr>
                      <a:r>
                        <a:rPr lang="de-DE" sz="1800">
                          <a:solidFill>
                            <a:schemeClr val="bg1"/>
                          </a:solidFill>
                          <a:latin typeface="Arial"/>
                          <a:ea typeface="Arial"/>
                          <a:cs typeface="Arial"/>
                          <a:sym typeface="Arial"/>
                        </a:rPr>
                        <a:t>Ereignis</a:t>
                      </a:r>
                      <a:endParaRPr>
                        <a:solidFill>
                          <a:schemeClr val="bg1"/>
                        </a:solidFill>
                      </a:endParaRPr>
                    </a:p>
                  </a:txBody>
                  <a:tcPr marL="91450" marR="91450" marT="45725" marB="45725" anchor="ctr">
                    <a:solidFill>
                      <a:schemeClr val="dk2"/>
                    </a:solidFill>
                  </a:tcPr>
                </a:tc>
                <a:tc>
                  <a:txBody>
                    <a:bodyPr/>
                    <a:lstStyle/>
                    <a:p>
                      <a:pPr marL="0" marR="0" lvl="0" indent="0" algn="ctr" rtl="0">
                        <a:spcBef>
                          <a:spcPts val="0"/>
                        </a:spcBef>
                        <a:spcAft>
                          <a:spcPts val="0"/>
                        </a:spcAft>
                        <a:buNone/>
                      </a:pPr>
                      <a:r>
                        <a:rPr lang="de-DE" sz="1800">
                          <a:solidFill>
                            <a:schemeClr val="bg1"/>
                          </a:solidFill>
                          <a:latin typeface="Arial"/>
                          <a:ea typeface="Arial"/>
                          <a:cs typeface="Arial"/>
                          <a:sym typeface="Arial"/>
                        </a:rPr>
                        <a:t>Frequenz [1/h]</a:t>
                      </a:r>
                      <a:endParaRPr>
                        <a:solidFill>
                          <a:schemeClr val="bg1"/>
                        </a:solidFill>
                      </a:endParaRPr>
                    </a:p>
                  </a:txBody>
                  <a:tcPr marL="91450" marR="91450" marT="45725" marB="45725" anchor="ctr">
                    <a:solidFill>
                      <a:schemeClr val="dk2"/>
                    </a:solidFill>
                  </a:tcPr>
                </a:tc>
                <a:extLst>
                  <a:ext uri="{0D108BD9-81ED-4DB2-BD59-A6C34878D82A}">
                    <a16:rowId xmlns:a16="http://schemas.microsoft.com/office/drawing/2014/main" val="10000"/>
                  </a:ext>
                </a:extLst>
              </a:tr>
              <a:tr h="378940">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err="1">
                          <a:solidFill>
                            <a:schemeClr val="lt2"/>
                          </a:solidFill>
                          <a:latin typeface="Arial"/>
                          <a:cs typeface="Arial"/>
                          <a:sym typeface="Arial"/>
                        </a:rPr>
                        <a:t>Machine</a:t>
                      </a:r>
                      <a:endParaRPr lang="de-CH" sz="1600" b="0" i="0" u="none" strike="noStrike" cap="none">
                        <a:solidFill>
                          <a:schemeClr val="lt2"/>
                        </a:solidFill>
                        <a:latin typeface="Arial"/>
                        <a:cs typeface="Arial"/>
                        <a:sym typeface="Arial"/>
                      </a:endParaRPr>
                    </a:p>
                  </a:txBody>
                  <a:tcPr marL="108000" marR="9525" marT="9525" marB="0" anchor="ctr">
                    <a:solidFill>
                      <a:srgbClr val="D8D8D8"/>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Beim Aufstarten der Maschine</a:t>
                      </a:r>
                    </a:p>
                  </a:txBody>
                  <a:tcPr marL="108000" marR="9525" marT="9525" marB="0" anchor="ctr">
                    <a:solidFill>
                      <a:srgbClr val="D8D8D8"/>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0.05</a:t>
                      </a:r>
                    </a:p>
                  </a:txBody>
                  <a:tcPr marL="108000" marR="9525" marT="9525" marB="0" anchor="ctr">
                    <a:solidFill>
                      <a:srgbClr val="D8D8D8"/>
                    </a:solidFill>
                  </a:tcPr>
                </a:tc>
                <a:extLst>
                  <a:ext uri="{0D108BD9-81ED-4DB2-BD59-A6C34878D82A}">
                    <a16:rowId xmlns:a16="http://schemas.microsoft.com/office/drawing/2014/main" val="10001"/>
                  </a:ext>
                </a:extLst>
              </a:tr>
              <a:tr h="378940">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err="1">
                          <a:solidFill>
                            <a:schemeClr val="lt2"/>
                          </a:solidFill>
                          <a:latin typeface="Arial"/>
                          <a:cs typeface="Arial"/>
                          <a:sym typeface="Arial"/>
                        </a:rPr>
                        <a:t>Workpiece</a:t>
                      </a:r>
                      <a:endParaRPr lang="de-CH" sz="1600" b="0" i="0" u="none" strike="noStrike" cap="none">
                        <a:solidFill>
                          <a:schemeClr val="lt2"/>
                        </a:solidFill>
                        <a:latin typeface="Arial"/>
                        <a:cs typeface="Arial"/>
                        <a:sym typeface="Arial"/>
                      </a:endParaRPr>
                    </a:p>
                  </a:txBody>
                  <a:tcPr marL="108000" marR="9525" marT="9525" marB="0" anchor="ctr">
                    <a:solidFill>
                      <a:srgbClr val="F2F2F2"/>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a:t>
                      </a:r>
                    </a:p>
                  </a:txBody>
                  <a:tcPr marL="108000" marR="9525" marT="9525" marB="0" anchor="ctr">
                    <a:solidFill>
                      <a:srgbClr val="F2F2F2"/>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1</a:t>
                      </a:r>
                    </a:p>
                  </a:txBody>
                  <a:tcPr marL="108000" marR="9525" marT="9525" marB="0" anchor="ctr">
                    <a:solidFill>
                      <a:srgbClr val="F2F2F2"/>
                    </a:solidFill>
                  </a:tcPr>
                </a:tc>
                <a:extLst>
                  <a:ext uri="{0D108BD9-81ED-4DB2-BD59-A6C34878D82A}">
                    <a16:rowId xmlns:a16="http://schemas.microsoft.com/office/drawing/2014/main" val="10002"/>
                  </a:ext>
                </a:extLst>
              </a:tr>
              <a:tr h="378940">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Job</a:t>
                      </a:r>
                    </a:p>
                  </a:txBody>
                  <a:tcPr marL="108000" marR="9525" marT="9525" marB="0" anchor="ctr">
                    <a:solidFill>
                      <a:srgbClr val="D8D8D8"/>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Beim Wechseln des Auftrags durch den Bediener</a:t>
                      </a:r>
                    </a:p>
                  </a:txBody>
                  <a:tcPr marL="108000" marR="9525" marT="9525" marB="0" anchor="ctr">
                    <a:solidFill>
                      <a:srgbClr val="D8D8D8"/>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0.5</a:t>
                      </a:r>
                    </a:p>
                  </a:txBody>
                  <a:tcPr marL="108000" marR="9525" marT="9525" marB="0" anchor="ctr">
                    <a:solidFill>
                      <a:srgbClr val="D8D8D8"/>
                    </a:solidFill>
                  </a:tcPr>
                </a:tc>
                <a:extLst>
                  <a:ext uri="{0D108BD9-81ED-4DB2-BD59-A6C34878D82A}">
                    <a16:rowId xmlns:a16="http://schemas.microsoft.com/office/drawing/2014/main" val="10003"/>
                  </a:ext>
                </a:extLst>
              </a:tr>
              <a:tr h="378940">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err="1">
                          <a:solidFill>
                            <a:schemeClr val="lt2"/>
                          </a:solidFill>
                          <a:latin typeface="Arial"/>
                          <a:cs typeface="Arial"/>
                          <a:sym typeface="Arial"/>
                        </a:rPr>
                        <a:t>machine</a:t>
                      </a:r>
                      <a:endParaRPr lang="de-CH" sz="1600" b="0" i="0" u="none" strike="noStrike" cap="none">
                        <a:solidFill>
                          <a:schemeClr val="lt2"/>
                        </a:solidFill>
                        <a:latin typeface="Arial"/>
                        <a:cs typeface="Arial"/>
                        <a:sym typeface="Arial"/>
                      </a:endParaRPr>
                    </a:p>
                  </a:txBody>
                  <a:tcPr marL="108000" marR="9525" marT="9525" marB="0" anchor="ctr">
                    <a:solidFill>
                      <a:srgbClr val="F2F2F2"/>
                    </a:solidFill>
                  </a:tcPr>
                </a:tc>
                <a:tc>
                  <a:txBody>
                    <a:bodyPr/>
                    <a:lstStyle/>
                    <a:p>
                      <a:pPr marL="0" marR="0" lvl="0" indent="0" algn="l" rtl="0" fontAlgn="b">
                        <a:lnSpc>
                          <a:spcPct val="100000"/>
                        </a:lnSpc>
                        <a:spcBef>
                          <a:spcPts val="0"/>
                        </a:spcBef>
                        <a:spcAft>
                          <a:spcPts val="0"/>
                        </a:spcAft>
                        <a:buClr>
                          <a:srgbClr val="000000"/>
                        </a:buClr>
                        <a:buFont typeface="Arial"/>
                        <a:buNone/>
                      </a:pPr>
                      <a:endParaRPr lang="de-CH" sz="1600" b="0" i="0" u="none" strike="noStrike" cap="none">
                        <a:solidFill>
                          <a:schemeClr val="lt2"/>
                        </a:solidFill>
                        <a:latin typeface="Arial"/>
                        <a:cs typeface="Arial"/>
                        <a:sym typeface="Arial"/>
                      </a:endParaRPr>
                    </a:p>
                  </a:txBody>
                  <a:tcPr marL="108000" marR="9525" marT="9525" marB="0" anchor="ctr">
                    <a:solidFill>
                      <a:srgbClr val="F2F2F2"/>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120</a:t>
                      </a:r>
                    </a:p>
                  </a:txBody>
                  <a:tcPr marL="108000" marR="9525" marT="9525" marB="0" anchor="ctr">
                    <a:solidFill>
                      <a:srgbClr val="F2F2F2"/>
                    </a:solidFill>
                  </a:tcPr>
                </a:tc>
                <a:extLst>
                  <a:ext uri="{0D108BD9-81ED-4DB2-BD59-A6C34878D82A}">
                    <a16:rowId xmlns:a16="http://schemas.microsoft.com/office/drawing/2014/main" val="10004"/>
                  </a:ext>
                </a:extLst>
              </a:tr>
              <a:tr h="508053">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err="1">
                          <a:solidFill>
                            <a:schemeClr val="lt2"/>
                          </a:solidFill>
                          <a:latin typeface="Arial"/>
                          <a:cs typeface="Arial"/>
                          <a:sym typeface="Arial"/>
                        </a:rPr>
                        <a:t>workpiece</a:t>
                      </a:r>
                      <a:endParaRPr lang="de-CH" sz="1600" b="0" i="0" u="none" strike="noStrike" cap="none">
                        <a:solidFill>
                          <a:schemeClr val="lt2"/>
                        </a:solidFill>
                        <a:latin typeface="Arial"/>
                        <a:cs typeface="Arial"/>
                        <a:sym typeface="Arial"/>
                      </a:endParaRPr>
                    </a:p>
                  </a:txBody>
                  <a:tcPr marL="108000" marR="9525" marT="9525" marB="0" anchor="ctr">
                    <a:solidFill>
                      <a:srgbClr val="D8D8D8"/>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Wenn Bearbeitung einer Werkstückseite abgeschlossen, nur im Voll-Automatik-Betrieb</a:t>
                      </a:r>
                    </a:p>
                  </a:txBody>
                  <a:tcPr marL="108000" marR="9525" marT="9525" marB="0" anchor="ctr">
                    <a:solidFill>
                      <a:srgbClr val="D8D8D8"/>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60</a:t>
                      </a:r>
                    </a:p>
                  </a:txBody>
                  <a:tcPr marL="108000" marR="9525" marT="9525" marB="0" anchor="ctr">
                    <a:solidFill>
                      <a:srgbClr val="D8D8D8"/>
                    </a:solidFill>
                  </a:tcPr>
                </a:tc>
                <a:extLst>
                  <a:ext uri="{0D108BD9-81ED-4DB2-BD59-A6C34878D82A}">
                    <a16:rowId xmlns:a16="http://schemas.microsoft.com/office/drawing/2014/main" val="10005"/>
                  </a:ext>
                </a:extLst>
              </a:tr>
              <a:tr h="508053">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err="1">
                          <a:solidFill>
                            <a:schemeClr val="lt2"/>
                          </a:solidFill>
                          <a:latin typeface="Arial"/>
                          <a:cs typeface="Arial"/>
                          <a:sym typeface="Arial"/>
                        </a:rPr>
                        <a:t>job</a:t>
                      </a:r>
                      <a:endParaRPr lang="de-CH" sz="1600" b="0" i="0" u="none" strike="noStrike" cap="none">
                        <a:solidFill>
                          <a:schemeClr val="lt2"/>
                        </a:solidFill>
                        <a:latin typeface="Arial"/>
                        <a:cs typeface="Arial"/>
                        <a:sym typeface="Arial"/>
                      </a:endParaRPr>
                    </a:p>
                  </a:txBody>
                  <a:tcPr marL="108000" marR="9525" marT="9525" marB="0" anchor="ctr">
                    <a:solidFill>
                      <a:srgbClr val="F2F2F2"/>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Wenn Bearbeitung eines Werkstücks abgeschlossen, nur im Voll-Automatik-Betrieb</a:t>
                      </a:r>
                    </a:p>
                  </a:txBody>
                  <a:tcPr marL="108000" marR="9525" marT="9525" marB="0" anchor="ctr">
                    <a:solidFill>
                      <a:srgbClr val="F2F2F2"/>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60</a:t>
                      </a:r>
                    </a:p>
                  </a:txBody>
                  <a:tcPr marL="108000" marR="9525" marT="9525" marB="0" anchor="ctr">
                    <a:solidFill>
                      <a:srgbClr val="F2F2F2"/>
                    </a:solidFill>
                  </a:tcPr>
                </a:tc>
                <a:extLst>
                  <a:ext uri="{0D108BD9-81ED-4DB2-BD59-A6C34878D82A}">
                    <a16:rowId xmlns:a16="http://schemas.microsoft.com/office/drawing/2014/main" val="10006"/>
                  </a:ext>
                </a:extLst>
              </a:tr>
              <a:tr h="508053">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tools[1..10]</a:t>
                      </a:r>
                    </a:p>
                  </a:txBody>
                  <a:tcPr marL="108000" marR="9525" marT="9525" marB="0" anchor="ctr">
                    <a:solidFill>
                      <a:srgbClr val="D8D8D8"/>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Wenn Bearbeitung eines Werkstücks abgeschlossen, nur im Voll-Automatik-Betrieb</a:t>
                      </a:r>
                    </a:p>
                  </a:txBody>
                  <a:tcPr marL="108000" marR="9525" marT="9525" marB="0" anchor="ctr">
                    <a:solidFill>
                      <a:srgbClr val="D8D8D8"/>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60</a:t>
                      </a:r>
                    </a:p>
                  </a:txBody>
                  <a:tcPr marL="108000" marR="9525" marT="9525" marB="0" anchor="ctr">
                    <a:solidFill>
                      <a:srgbClr val="D8D8D8"/>
                    </a:solidFill>
                  </a:tcPr>
                </a:tc>
                <a:extLst>
                  <a:ext uri="{0D108BD9-81ED-4DB2-BD59-A6C34878D82A}">
                    <a16:rowId xmlns:a16="http://schemas.microsoft.com/office/drawing/2014/main" val="10007"/>
                  </a:ext>
                </a:extLst>
              </a:tr>
              <a:tr h="441581">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Operator</a:t>
                      </a:r>
                    </a:p>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Messages</a:t>
                      </a:r>
                    </a:p>
                  </a:txBody>
                  <a:tcPr marL="108000" marR="9525" marT="9525" marB="0" anchor="ctr">
                    <a:solidFill>
                      <a:srgbClr val="F2F2F2"/>
                    </a:solidFill>
                  </a:tcPr>
                </a:tc>
                <a:tc>
                  <a:txBody>
                    <a:bodyPr/>
                    <a:lstStyle/>
                    <a:p>
                      <a:pPr marL="0" marR="0" lvl="0" indent="0" algn="l"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Nur im Voll-Automatik Betrieb</a:t>
                      </a:r>
                    </a:p>
                  </a:txBody>
                  <a:tcPr marL="108000" marR="9525" marT="9525" marB="0" anchor="ctr">
                    <a:solidFill>
                      <a:srgbClr val="F2F2F2"/>
                    </a:solidFill>
                  </a:tcPr>
                </a:tc>
                <a:tc>
                  <a:txBody>
                    <a:bodyPr/>
                    <a:lstStyle/>
                    <a:p>
                      <a:pPr marL="0" marR="0" lvl="0" indent="0" algn="ctr" rtl="0" fontAlgn="b">
                        <a:lnSpc>
                          <a:spcPct val="100000"/>
                        </a:lnSpc>
                        <a:spcBef>
                          <a:spcPts val="0"/>
                        </a:spcBef>
                        <a:spcAft>
                          <a:spcPts val="0"/>
                        </a:spcAft>
                        <a:buClr>
                          <a:srgbClr val="000000"/>
                        </a:buClr>
                        <a:buFont typeface="Arial"/>
                        <a:buNone/>
                      </a:pPr>
                      <a:r>
                        <a:rPr lang="de-CH" sz="1600" b="0" i="0" u="none" strike="noStrike" cap="none">
                          <a:solidFill>
                            <a:schemeClr val="lt2"/>
                          </a:solidFill>
                          <a:latin typeface="Arial"/>
                          <a:cs typeface="Arial"/>
                          <a:sym typeface="Arial"/>
                        </a:rPr>
                        <a:t>2</a:t>
                      </a:r>
                    </a:p>
                  </a:txBody>
                  <a:tcPr marL="108000" marR="9525" marT="9525" marB="0" anchor="ctr">
                    <a:solidFill>
                      <a:srgbClr val="F2F2F2"/>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4095187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88A635-8291-4A25-8630-3BA66F9B303C}"/>
              </a:ext>
            </a:extLst>
          </p:cNvPr>
          <p:cNvSpPr>
            <a:spLocks noGrp="1"/>
          </p:cNvSpPr>
          <p:nvPr>
            <p:ph type="title"/>
          </p:nvPr>
        </p:nvSpPr>
        <p:spPr/>
        <p:txBody>
          <a:bodyPr>
            <a:normAutofit fontScale="90000"/>
          </a:bodyPr>
          <a:lstStyle/>
          <a:p>
            <a:r>
              <a:rPr lang="en-US" err="1"/>
              <a:t>Grobes</a:t>
            </a:r>
            <a:r>
              <a:rPr lang="en-US"/>
              <a:t> </a:t>
            </a:r>
            <a:r>
              <a:rPr lang="en-US" err="1">
                <a:solidFill>
                  <a:schemeClr val="accent1"/>
                </a:solidFill>
              </a:rPr>
              <a:t>Kostenmodell</a:t>
            </a:r>
            <a:r>
              <a:rPr lang="en-US"/>
              <a:t> der Cloud </a:t>
            </a:r>
            <a:r>
              <a:rPr lang="en-US" err="1"/>
              <a:t>berechnen</a:t>
            </a:r>
            <a:endParaRPr lang="de-CH"/>
          </a:p>
        </p:txBody>
      </p:sp>
      <p:graphicFrame>
        <p:nvGraphicFramePr>
          <p:cNvPr id="4" name="Table 3">
            <a:extLst>
              <a:ext uri="{FF2B5EF4-FFF2-40B4-BE49-F238E27FC236}">
                <a16:creationId xmlns:a16="http://schemas.microsoft.com/office/drawing/2014/main" id="{00FFB769-121C-4EBB-BE46-8BF9941A68A3}"/>
              </a:ext>
            </a:extLst>
          </p:cNvPr>
          <p:cNvGraphicFramePr>
            <a:graphicFrameLocks noGrp="1"/>
          </p:cNvGraphicFramePr>
          <p:nvPr>
            <p:extLst>
              <p:ext uri="{D42A27DB-BD31-4B8C-83A1-F6EECF244321}">
                <p14:modId xmlns:p14="http://schemas.microsoft.com/office/powerpoint/2010/main" val="1134494054"/>
              </p:ext>
            </p:extLst>
          </p:nvPr>
        </p:nvGraphicFramePr>
        <p:xfrm>
          <a:off x="1520371" y="1886024"/>
          <a:ext cx="9151257" cy="3860440"/>
        </p:xfrm>
        <a:graphic>
          <a:graphicData uri="http://schemas.openxmlformats.org/drawingml/2006/table">
            <a:tbl>
              <a:tblPr firstRow="1" bandRow="1">
                <a:tableStyleId>{3B4B98B0-60AC-42C2-AFA5-B58CD77FA1E5}</a:tableStyleId>
              </a:tblPr>
              <a:tblGrid>
                <a:gridCol w="1145606">
                  <a:extLst>
                    <a:ext uri="{9D8B030D-6E8A-4147-A177-3AD203B41FA5}">
                      <a16:colId xmlns:a16="http://schemas.microsoft.com/office/drawing/2014/main" val="2544407801"/>
                    </a:ext>
                  </a:extLst>
                </a:gridCol>
                <a:gridCol w="1839913">
                  <a:extLst>
                    <a:ext uri="{9D8B030D-6E8A-4147-A177-3AD203B41FA5}">
                      <a16:colId xmlns:a16="http://schemas.microsoft.com/office/drawing/2014/main" val="1575944474"/>
                    </a:ext>
                  </a:extLst>
                </a:gridCol>
                <a:gridCol w="2174310">
                  <a:extLst>
                    <a:ext uri="{9D8B030D-6E8A-4147-A177-3AD203B41FA5}">
                      <a16:colId xmlns:a16="http://schemas.microsoft.com/office/drawing/2014/main" val="51716716"/>
                    </a:ext>
                  </a:extLst>
                </a:gridCol>
                <a:gridCol w="2017485">
                  <a:extLst>
                    <a:ext uri="{9D8B030D-6E8A-4147-A177-3AD203B41FA5}">
                      <a16:colId xmlns:a16="http://schemas.microsoft.com/office/drawing/2014/main" val="4185252582"/>
                    </a:ext>
                  </a:extLst>
                </a:gridCol>
                <a:gridCol w="1973943">
                  <a:extLst>
                    <a:ext uri="{9D8B030D-6E8A-4147-A177-3AD203B41FA5}">
                      <a16:colId xmlns:a16="http://schemas.microsoft.com/office/drawing/2014/main" val="2185071045"/>
                    </a:ext>
                  </a:extLst>
                </a:gridCol>
              </a:tblGrid>
              <a:tr h="500431">
                <a:tc>
                  <a:txBody>
                    <a:bodyPr/>
                    <a:lstStyle/>
                    <a:p>
                      <a:pPr algn="ctr"/>
                      <a:r>
                        <a:rPr lang="en-US" sz="1800" b="0" kern="1200">
                          <a:solidFill>
                            <a:schemeClr val="bg1"/>
                          </a:solidFill>
                          <a:latin typeface="+mj-lt"/>
                          <a:ea typeface="+mn-ea"/>
                          <a:cs typeface="Arial"/>
                        </a:rPr>
                        <a:t># </a:t>
                      </a:r>
                      <a:r>
                        <a:rPr lang="en-US" sz="1800" b="0" kern="1200" err="1">
                          <a:solidFill>
                            <a:schemeClr val="bg1"/>
                          </a:solidFill>
                          <a:latin typeface="+mj-lt"/>
                          <a:ea typeface="+mn-ea"/>
                          <a:cs typeface="Arial"/>
                        </a:rPr>
                        <a:t>Geräte</a:t>
                      </a:r>
                      <a:endParaRPr lang="de-CH" sz="1800" b="0" kern="1200">
                        <a:solidFill>
                          <a:schemeClr val="bg1"/>
                        </a:solidFill>
                        <a:latin typeface="+mj-lt"/>
                        <a:ea typeface="+mn-ea"/>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b"/>
                      <a:r>
                        <a:rPr lang="de-CH" sz="1800" b="0" kern="1200">
                          <a:solidFill>
                            <a:schemeClr val="bg1"/>
                          </a:solidFill>
                          <a:latin typeface="+mj-lt"/>
                          <a:cs typeface="Arial"/>
                        </a:rPr>
                        <a:t>Kosten pro Mon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b"/>
                      <a:r>
                        <a:rPr lang="de-CH" sz="1800" b="0" kern="1200">
                          <a:solidFill>
                            <a:schemeClr val="bg1"/>
                          </a:solidFill>
                          <a:latin typeface="+mj-lt"/>
                          <a:cs typeface="Arial"/>
                        </a:rPr>
                        <a:t>Kosten pro Monat </a:t>
                      </a:r>
                    </a:p>
                    <a:p>
                      <a:pPr algn="ctr" fontAlgn="b"/>
                      <a:r>
                        <a:rPr lang="de-CH" sz="1800" b="0" kern="1200">
                          <a:solidFill>
                            <a:schemeClr val="bg1"/>
                          </a:solidFill>
                          <a:latin typeface="+mj-lt"/>
                          <a:cs typeface="Arial"/>
                        </a:rPr>
                        <a:t>pro Gerä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b"/>
                      <a:r>
                        <a:rPr lang="de-CH" sz="1800" b="0" kern="1200">
                          <a:solidFill>
                            <a:schemeClr val="bg1"/>
                          </a:solidFill>
                          <a:latin typeface="+mj-lt"/>
                          <a:cs typeface="Arial"/>
                        </a:rPr>
                        <a:t>Kosten pro Jah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b"/>
                      <a:r>
                        <a:rPr lang="de-CH" sz="1800" b="0" kern="1200">
                          <a:solidFill>
                            <a:schemeClr val="bg1"/>
                          </a:solidFill>
                          <a:latin typeface="+mj-lt"/>
                          <a:cs typeface="Arial"/>
                        </a:rPr>
                        <a:t>Kosten pro Jahr</a:t>
                      </a:r>
                    </a:p>
                    <a:p>
                      <a:pPr algn="ctr" fontAlgn="b"/>
                      <a:r>
                        <a:rPr lang="de-CH" sz="1800" b="0" kern="1200">
                          <a:solidFill>
                            <a:schemeClr val="bg1"/>
                          </a:solidFill>
                          <a:latin typeface="+mj-lt"/>
                          <a:cs typeface="Arial"/>
                        </a:rPr>
                        <a:t> pro Gerä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55425332"/>
                  </a:ext>
                </a:extLst>
              </a:tr>
              <a:tr h="662360">
                <a:tc>
                  <a:txBody>
                    <a:bodyPr/>
                    <a:lstStyle/>
                    <a:p>
                      <a:pPr algn="ctr" fontAlgn="b"/>
                      <a:r>
                        <a:rPr lang="de-CH" sz="1600" b="0" i="0" u="none" strike="noStrike" kern="1200" cap="none">
                          <a:solidFill>
                            <a:schemeClr val="lt2"/>
                          </a:solidFill>
                          <a:latin typeface="Arial"/>
                          <a:ea typeface="+mn-ea"/>
                          <a:cs typeface="Arial"/>
                        </a:rPr>
                        <a:t>2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algn="l" fontAlgn="b"/>
                      <a:r>
                        <a:rPr lang="de-CH" sz="1600" b="0" i="0" u="none" strike="noStrike" kern="1200" cap="none">
                          <a:solidFill>
                            <a:schemeClr val="lt2"/>
                          </a:solidFill>
                          <a:latin typeface="Arial"/>
                          <a:ea typeface="+mn-ea"/>
                          <a:cs typeface="Arial"/>
                        </a:rPr>
                        <a:t>       CHF 2'865.9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algn="ctr" fontAlgn="b"/>
                      <a:r>
                        <a:rPr lang="de-CH" sz="1600" b="0" i="0" u="none" strike="noStrike" kern="1200" cap="none">
                          <a:solidFill>
                            <a:schemeClr val="lt2"/>
                          </a:solidFill>
                          <a:latin typeface="Arial"/>
                          <a:ea typeface="+mn-ea"/>
                          <a:cs typeface="Arial"/>
                        </a:rPr>
                        <a:t>CHF 1.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algn="ctr" fontAlgn="b"/>
                      <a:r>
                        <a:rPr lang="de-CH" sz="1600" b="0" i="0" u="none" strike="noStrike" kern="1200" cap="none">
                          <a:solidFill>
                            <a:schemeClr val="lt2"/>
                          </a:solidFill>
                          <a:latin typeface="Arial"/>
                          <a:ea typeface="+mn-ea"/>
                          <a:cs typeface="Arial"/>
                        </a:rPr>
                        <a:t>CHF 34'391.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algn="ctr" fontAlgn="b"/>
                      <a:r>
                        <a:rPr lang="de-CH" sz="1600" b="0" i="0" u="none" strike="noStrike" kern="1200" cap="none">
                          <a:solidFill>
                            <a:schemeClr val="lt2"/>
                          </a:solidFill>
                          <a:latin typeface="Arial"/>
                          <a:ea typeface="+mn-ea"/>
                          <a:cs typeface="Arial"/>
                        </a:rPr>
                        <a:t>CHF 17.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extLst>
                  <a:ext uri="{0D108BD9-81ED-4DB2-BD59-A6C34878D82A}">
                    <a16:rowId xmlns:a16="http://schemas.microsoft.com/office/drawing/2014/main" val="3161369171"/>
                  </a:ext>
                </a:extLst>
              </a:tr>
              <a:tr h="662360">
                <a:tc>
                  <a:txBody>
                    <a:bodyPr/>
                    <a:lstStyle/>
                    <a:p>
                      <a:pPr algn="ctr" fontAlgn="b"/>
                      <a:r>
                        <a:rPr lang="de-CH" sz="1600" b="0" i="0" u="none" strike="noStrike" kern="1200" cap="none">
                          <a:solidFill>
                            <a:schemeClr val="lt2"/>
                          </a:solidFill>
                          <a:latin typeface="Arial"/>
                          <a:ea typeface="+mn-ea"/>
                          <a:cs typeface="Arial"/>
                        </a:rPr>
                        <a:t>1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l" fontAlgn="b"/>
                      <a:r>
                        <a:rPr lang="de-CH" sz="1600" b="0" i="0" u="none" strike="noStrike" kern="1200" cap="none">
                          <a:solidFill>
                            <a:schemeClr val="lt2"/>
                          </a:solidFill>
                          <a:latin typeface="Arial"/>
                          <a:ea typeface="+mn-ea"/>
                          <a:cs typeface="Arial"/>
                        </a:rPr>
                        <a:t>       CHF 1'664.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de-CH" sz="1600" b="0" i="0" u="none" strike="noStrike" kern="1200" cap="none">
                          <a:solidFill>
                            <a:schemeClr val="lt2"/>
                          </a:solidFill>
                          <a:latin typeface="Arial"/>
                          <a:ea typeface="+mn-ea"/>
                          <a:cs typeface="Arial"/>
                        </a:rPr>
                        <a:t>CHF 1.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de-CH" sz="1600" b="0" i="0" u="none" strike="noStrike" kern="1200" cap="none">
                          <a:solidFill>
                            <a:schemeClr val="lt2"/>
                          </a:solidFill>
                          <a:latin typeface="Arial"/>
                          <a:ea typeface="+mn-ea"/>
                          <a:cs typeface="Arial"/>
                        </a:rPr>
                        <a:t>CHF 19'969.4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de-CH" sz="1600" b="0" i="0" u="none" strike="noStrike" kern="1200" cap="none">
                          <a:solidFill>
                            <a:schemeClr val="lt2"/>
                          </a:solidFill>
                          <a:latin typeface="Arial"/>
                          <a:ea typeface="+mn-ea"/>
                          <a:cs typeface="Arial"/>
                        </a:rPr>
                        <a:t>CHF 19.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154840829"/>
                  </a:ext>
                </a:extLst>
              </a:tr>
              <a:tr h="662360">
                <a:tc>
                  <a:txBody>
                    <a:bodyPr/>
                    <a:lstStyle/>
                    <a:p>
                      <a:pPr marL="0" algn="ctr" defTabSz="609585" rtl="0" eaLnBrk="1" fontAlgn="b" latinLnBrk="0" hangingPunct="1"/>
                      <a:r>
                        <a:rPr lang="de-CH" sz="1600" b="0" i="0" u="none" strike="noStrike" kern="1200" cap="none">
                          <a:solidFill>
                            <a:schemeClr val="lt2"/>
                          </a:solidFill>
                          <a:latin typeface="Arial"/>
                          <a:ea typeface="+mn-ea"/>
                          <a:cs typeface="Arial"/>
                        </a:rPr>
                        <a:t>5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marL="0" algn="l" defTabSz="609585" rtl="0" eaLnBrk="1" fontAlgn="b" latinLnBrk="0" hangingPunct="1"/>
                      <a:r>
                        <a:rPr lang="de-CH" sz="1600" b="0" i="0" u="none" strike="noStrike" kern="1200" cap="none">
                          <a:solidFill>
                            <a:schemeClr val="lt2"/>
                          </a:solidFill>
                          <a:latin typeface="Arial"/>
                          <a:ea typeface="+mn-ea"/>
                          <a:cs typeface="Arial"/>
                        </a:rPr>
                        <a:t>         CHF 925.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marL="0" algn="ctr" defTabSz="609585" rtl="0" eaLnBrk="1" fontAlgn="b" latinLnBrk="0" hangingPunct="1"/>
                      <a:r>
                        <a:rPr lang="de-CH" sz="1600" b="0" i="0" u="none" strike="noStrike" kern="1200" cap="none">
                          <a:solidFill>
                            <a:schemeClr val="lt2"/>
                          </a:solidFill>
                          <a:latin typeface="Arial"/>
                          <a:ea typeface="+mn-ea"/>
                          <a:cs typeface="Arial"/>
                        </a:rPr>
                        <a:t>CHF 1.8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marL="0" algn="ctr" defTabSz="609585" rtl="0" eaLnBrk="1" fontAlgn="b" latinLnBrk="0" hangingPunct="1"/>
                      <a:r>
                        <a:rPr lang="de-CH" sz="1600" b="0" i="0" u="none" strike="noStrike" kern="1200" cap="none">
                          <a:solidFill>
                            <a:schemeClr val="lt2"/>
                          </a:solidFill>
                          <a:latin typeface="Arial"/>
                          <a:ea typeface="+mn-ea"/>
                          <a:cs typeface="Arial"/>
                        </a:rPr>
                        <a:t>CHF 11'103.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tc>
                  <a:txBody>
                    <a:bodyPr/>
                    <a:lstStyle/>
                    <a:p>
                      <a:pPr marL="0" algn="ctr" defTabSz="609585" rtl="0" eaLnBrk="1" fontAlgn="b" latinLnBrk="0" hangingPunct="1"/>
                      <a:r>
                        <a:rPr lang="de-CH" sz="1600" b="0" i="0" u="none" strike="noStrike" kern="1200" cap="none">
                          <a:solidFill>
                            <a:schemeClr val="lt2"/>
                          </a:solidFill>
                          <a:latin typeface="Arial"/>
                          <a:ea typeface="+mn-ea"/>
                          <a:cs typeface="Arial"/>
                        </a:rPr>
                        <a:t>CHF 22.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8D8"/>
                    </a:solidFill>
                  </a:tcPr>
                </a:tc>
                <a:extLst>
                  <a:ext uri="{0D108BD9-81ED-4DB2-BD59-A6C34878D82A}">
                    <a16:rowId xmlns:a16="http://schemas.microsoft.com/office/drawing/2014/main" val="2799887526"/>
                  </a:ext>
                </a:extLst>
              </a:tr>
              <a:tr h="662360">
                <a:tc>
                  <a:txBody>
                    <a:bodyPr/>
                    <a:lstStyle/>
                    <a:p>
                      <a:pPr algn="ctr" fontAlgn="b"/>
                      <a:r>
                        <a:rPr lang="de-CH" sz="1600" b="0" i="0" u="none" strike="noStrike" kern="1200" cap="none">
                          <a:solidFill>
                            <a:schemeClr val="lt2"/>
                          </a:solidFill>
                          <a:latin typeface="Arial"/>
                          <a:ea typeface="+mn-ea"/>
                          <a:cs typeface="Arial"/>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l" fontAlgn="b"/>
                      <a:r>
                        <a:rPr lang="de-CH" sz="1600" b="0" i="0" u="none" strike="noStrike" kern="1200" cap="none">
                          <a:solidFill>
                            <a:schemeClr val="lt2"/>
                          </a:solidFill>
                          <a:latin typeface="Arial"/>
                          <a:ea typeface="+mn-ea"/>
                          <a:cs typeface="Arial"/>
                        </a:rPr>
                        <a:t>         CHF 347.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de-CH" sz="1600" b="0" i="0" u="none" strike="noStrike" kern="1200" cap="none">
                          <a:solidFill>
                            <a:schemeClr val="lt2"/>
                          </a:solidFill>
                          <a:latin typeface="Arial"/>
                          <a:ea typeface="+mn-ea"/>
                          <a:cs typeface="Arial"/>
                        </a:rPr>
                        <a:t>CHF 3.4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de-CH" sz="1600" b="0" i="0" u="none" strike="noStrike" kern="1200" cap="none">
                          <a:solidFill>
                            <a:schemeClr val="lt2"/>
                          </a:solidFill>
                          <a:latin typeface="Arial"/>
                          <a:ea typeface="+mn-ea"/>
                          <a:cs typeface="Arial"/>
                        </a:rPr>
                        <a:t> CHF 4'175.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b"/>
                      <a:r>
                        <a:rPr lang="de-CH" sz="1600" b="0" i="0" u="none" strike="noStrike" kern="1200" cap="none">
                          <a:solidFill>
                            <a:schemeClr val="lt2"/>
                          </a:solidFill>
                          <a:latin typeface="Arial"/>
                          <a:ea typeface="+mn-ea"/>
                          <a:cs typeface="Arial"/>
                        </a:rPr>
                        <a:t>CHF 41.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710582293"/>
                  </a:ext>
                </a:extLst>
              </a:tr>
              <a:tr h="662360">
                <a:tc>
                  <a:txBody>
                    <a:bodyPr/>
                    <a:lstStyle/>
                    <a:p>
                      <a:pPr algn="ctr" fontAlgn="b"/>
                      <a:r>
                        <a:rPr lang="de-CH" sz="1600" b="0" i="0" u="none" strike="noStrike" kern="1200" cap="none">
                          <a:solidFill>
                            <a:schemeClr val="lt2"/>
                          </a:solidFill>
                          <a:latin typeface="Arial"/>
                          <a:ea typeface="+mn-ea"/>
                          <a:cs typeface="Arial"/>
                        </a:rPr>
                        <a:t>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6E6"/>
                    </a:solidFill>
                  </a:tcPr>
                </a:tc>
                <a:tc>
                  <a:txBody>
                    <a:bodyPr/>
                    <a:lstStyle/>
                    <a:p>
                      <a:pPr algn="l" fontAlgn="b"/>
                      <a:r>
                        <a:rPr lang="de-CH" sz="1600" b="0" i="0" u="none" strike="noStrike" kern="1200" cap="none">
                          <a:solidFill>
                            <a:schemeClr val="lt2"/>
                          </a:solidFill>
                          <a:latin typeface="Arial"/>
                          <a:ea typeface="+mn-ea"/>
                          <a:cs typeface="Arial"/>
                        </a:rPr>
                        <a:t>         CHF 281.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6E6"/>
                    </a:solidFill>
                  </a:tcPr>
                </a:tc>
                <a:tc>
                  <a:txBody>
                    <a:bodyPr/>
                    <a:lstStyle/>
                    <a:p>
                      <a:pPr algn="ctr" fontAlgn="b"/>
                      <a:r>
                        <a:rPr lang="de-CH" sz="1600" b="0" i="0" u="none" strike="noStrike" kern="1200" cap="none">
                          <a:solidFill>
                            <a:schemeClr val="lt2"/>
                          </a:solidFill>
                          <a:latin typeface="Arial"/>
                          <a:ea typeface="+mn-ea"/>
                          <a:cs typeface="Arial"/>
                        </a:rPr>
                        <a:t>CHF 5.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6E6"/>
                    </a:solidFill>
                  </a:tcPr>
                </a:tc>
                <a:tc>
                  <a:txBody>
                    <a:bodyPr/>
                    <a:lstStyle/>
                    <a:p>
                      <a:pPr algn="ctr" fontAlgn="b"/>
                      <a:r>
                        <a:rPr lang="de-CH" sz="1600" b="0" i="0" u="none" strike="noStrike" kern="1200" cap="none">
                          <a:solidFill>
                            <a:schemeClr val="lt2"/>
                          </a:solidFill>
                          <a:latin typeface="Arial"/>
                          <a:ea typeface="+mn-ea"/>
                          <a:cs typeface="Arial"/>
                        </a:rPr>
                        <a:t> CHF 3'374.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6E6"/>
                    </a:solidFill>
                  </a:tcPr>
                </a:tc>
                <a:tc>
                  <a:txBody>
                    <a:bodyPr/>
                    <a:lstStyle/>
                    <a:p>
                      <a:pPr algn="ctr" fontAlgn="b"/>
                      <a:r>
                        <a:rPr lang="de-CH" sz="1600" b="0" i="0" u="none" strike="noStrike" kern="1200" cap="none">
                          <a:solidFill>
                            <a:schemeClr val="lt2"/>
                          </a:solidFill>
                          <a:latin typeface="Arial"/>
                          <a:ea typeface="+mn-ea"/>
                          <a:cs typeface="Arial"/>
                        </a:rPr>
                        <a:t>CHF 67.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991609975"/>
                  </a:ext>
                </a:extLst>
              </a:tr>
            </a:tbl>
          </a:graphicData>
        </a:graphic>
      </p:graphicFrame>
    </p:spTree>
    <p:extLst>
      <p:ext uri="{BB962C8B-B14F-4D97-AF65-F5344CB8AC3E}">
        <p14:creationId xmlns:p14="http://schemas.microsoft.com/office/powerpoint/2010/main" val="36356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747852-DE74-4E97-AE13-BCEE982DCA23}"/>
              </a:ext>
            </a:extLst>
          </p:cNvPr>
          <p:cNvPicPr>
            <a:picLocks noChangeAspect="1"/>
          </p:cNvPicPr>
          <p:nvPr/>
        </p:nvPicPr>
        <p:blipFill>
          <a:blip r:embed="rId3"/>
          <a:stretch>
            <a:fillRect/>
          </a:stretch>
        </p:blipFill>
        <p:spPr>
          <a:xfrm>
            <a:off x="8050925" y="3439510"/>
            <a:ext cx="3185072" cy="3185072"/>
          </a:xfrm>
          <a:prstGeom prst="rect">
            <a:avLst/>
          </a:prstGeom>
        </p:spPr>
      </p:pic>
      <p:sp>
        <p:nvSpPr>
          <p:cNvPr id="3" name="Title 2">
            <a:extLst>
              <a:ext uri="{FF2B5EF4-FFF2-40B4-BE49-F238E27FC236}">
                <a16:creationId xmlns:a16="http://schemas.microsoft.com/office/drawing/2014/main" id="{0937FF20-BA4C-4F7D-91E8-D7E711A53084}"/>
              </a:ext>
            </a:extLst>
          </p:cNvPr>
          <p:cNvSpPr>
            <a:spLocks noGrp="1"/>
          </p:cNvSpPr>
          <p:nvPr>
            <p:ph type="title"/>
          </p:nvPr>
        </p:nvSpPr>
        <p:spPr/>
        <p:txBody>
          <a:bodyPr>
            <a:normAutofit fontScale="90000"/>
          </a:bodyPr>
          <a:lstStyle/>
          <a:p>
            <a:r>
              <a:rPr lang="en-US" err="1"/>
              <a:t>Fazit</a:t>
            </a:r>
            <a:endParaRPr lang="de-CH"/>
          </a:p>
        </p:txBody>
      </p:sp>
      <p:sp>
        <p:nvSpPr>
          <p:cNvPr id="6" name="Text Placeholder 1">
            <a:extLst>
              <a:ext uri="{FF2B5EF4-FFF2-40B4-BE49-F238E27FC236}">
                <a16:creationId xmlns:a16="http://schemas.microsoft.com/office/drawing/2014/main" id="{7072EB2B-657F-4C2C-B77B-BE93A8EA54D8}"/>
              </a:ext>
            </a:extLst>
          </p:cNvPr>
          <p:cNvSpPr>
            <a:spLocks noGrp="1"/>
          </p:cNvSpPr>
          <p:nvPr>
            <p:ph type="body" idx="1"/>
          </p:nvPr>
        </p:nvSpPr>
        <p:spPr>
          <a:xfrm>
            <a:off x="1506551" y="1765707"/>
            <a:ext cx="9832009" cy="4259287"/>
          </a:xfrm>
        </p:spPr>
        <p:txBody>
          <a:bodyPr/>
          <a:lstStyle/>
          <a:p>
            <a:pPr marL="514350" indent="-285750">
              <a:buFont typeface="Arial"/>
              <a:buChar char="•"/>
            </a:pPr>
            <a:r>
              <a:rPr lang="en-US" sz="2800" dirty="0"/>
              <a:t>R</a:t>
            </a:r>
            <a:r>
              <a:rPr lang="de-CH" sz="2800" dirty="0" err="1"/>
              <a:t>isiko</a:t>
            </a:r>
            <a:r>
              <a:rPr lang="de-CH" sz="2800" dirty="0"/>
              <a:t>-Minimierung dank </a:t>
            </a:r>
            <a:r>
              <a:rPr lang="de-CH" sz="2800" dirty="0" err="1"/>
              <a:t>PoC</a:t>
            </a:r>
            <a:r>
              <a:rPr lang="de-CH" sz="2800" dirty="0"/>
              <a:t> und MVP-Ansatz</a:t>
            </a:r>
          </a:p>
          <a:p>
            <a:pPr marL="514350" indent="-285750">
              <a:buFont typeface="Arial"/>
              <a:buChar char="•"/>
            </a:pPr>
            <a:r>
              <a:rPr lang="en-US" sz="2800" dirty="0"/>
              <a:t>P</a:t>
            </a:r>
            <a:r>
              <a:rPr lang="de-CH" sz="2800" dirty="0" err="1"/>
              <a:t>aaS</a:t>
            </a:r>
            <a:r>
              <a:rPr lang="de-CH" sz="2800" dirty="0"/>
              <a:t> Lösung dank Azure </a:t>
            </a:r>
            <a:r>
              <a:rPr lang="de-CH" sz="2800" dirty="0" err="1"/>
              <a:t>Managed</a:t>
            </a:r>
            <a:r>
              <a:rPr lang="de-CH" sz="2800" dirty="0"/>
              <a:t> Services</a:t>
            </a:r>
          </a:p>
          <a:p>
            <a:pPr marL="514350" indent="-285750">
              <a:buFont typeface="Arial"/>
              <a:buChar char="•"/>
            </a:pPr>
            <a:r>
              <a:rPr lang="en-US" sz="2800" dirty="0" err="1"/>
              <a:t>Keine</a:t>
            </a:r>
            <a:r>
              <a:rPr lang="en-US" sz="2800" dirty="0"/>
              <a:t> </a:t>
            </a:r>
            <a:r>
              <a:rPr lang="en-US" sz="2800" dirty="0" err="1"/>
              <a:t>CapEx</a:t>
            </a:r>
            <a:r>
              <a:rPr lang="en-US" sz="2800" dirty="0"/>
              <a:t> </a:t>
            </a:r>
            <a:r>
              <a:rPr lang="en-US" sz="2800" dirty="0" err="1"/>
              <a:t>für</a:t>
            </a:r>
            <a:r>
              <a:rPr lang="en-US" sz="2800" dirty="0"/>
              <a:t> HW, </a:t>
            </a:r>
            <a:r>
              <a:rPr lang="en-US" sz="2800" dirty="0" err="1"/>
              <a:t>nur</a:t>
            </a:r>
            <a:r>
              <a:rPr lang="en-US" sz="2800" dirty="0"/>
              <a:t> </a:t>
            </a:r>
            <a:r>
              <a:rPr lang="en-US" sz="2800" dirty="0" err="1"/>
              <a:t>OpEx</a:t>
            </a:r>
            <a:r>
              <a:rPr lang="en-US" sz="2800" dirty="0"/>
              <a:t> (P</a:t>
            </a:r>
            <a:r>
              <a:rPr lang="de-CH" sz="2800" dirty="0" err="1"/>
              <a:t>ay</a:t>
            </a:r>
            <a:r>
              <a:rPr lang="de-CH" sz="2800" dirty="0"/>
              <a:t>-As-</a:t>
            </a:r>
            <a:r>
              <a:rPr lang="de-CH" sz="2800" dirty="0" err="1"/>
              <a:t>You</a:t>
            </a:r>
            <a:r>
              <a:rPr lang="de-CH" sz="2800" dirty="0"/>
              <a:t>-Go )</a:t>
            </a:r>
          </a:p>
          <a:p>
            <a:pPr marL="514350" indent="-285750">
              <a:buFont typeface="Arial"/>
              <a:buChar char="•"/>
            </a:pPr>
            <a:r>
              <a:rPr lang="de-CH" sz="2800" dirty="0"/>
              <a:t>Flexibilität durch Agilität und </a:t>
            </a:r>
            <a:r>
              <a:rPr lang="de-CH" sz="2800" dirty="0" err="1"/>
              <a:t>DevOps</a:t>
            </a:r>
            <a:endParaRPr lang="de-CH" sz="2800" dirty="0"/>
          </a:p>
          <a:p>
            <a:pPr marL="514350" indent="-285750">
              <a:buFont typeface="Arial"/>
              <a:buChar char="•"/>
            </a:pPr>
            <a:r>
              <a:rPr lang="en-US" sz="2800" dirty="0" err="1"/>
              <a:t>Zugriff</a:t>
            </a:r>
            <a:r>
              <a:rPr lang="en-US" sz="2800" dirty="0"/>
              <a:t> a</a:t>
            </a:r>
            <a:r>
              <a:rPr lang="de-CH" sz="2800" dirty="0" err="1"/>
              <a:t>uf</a:t>
            </a:r>
            <a:r>
              <a:rPr lang="de-CH" sz="2800" dirty="0"/>
              <a:t> Expertise innerhalb der bbv</a:t>
            </a:r>
          </a:p>
          <a:p>
            <a:pPr marL="571500" indent="-342900">
              <a:spcBef>
                <a:spcPts val="600"/>
              </a:spcBef>
              <a:buClr>
                <a:srgbClr val="707173"/>
              </a:buClr>
              <a:buChar char="•"/>
            </a:pPr>
            <a:endParaRPr lang="de-CH" sz="2800" dirty="0"/>
          </a:p>
          <a:p>
            <a:pPr lvl="1">
              <a:spcBef>
                <a:spcPts val="600"/>
              </a:spcBef>
            </a:pPr>
            <a:endParaRPr lang="de-CH" sz="2800" dirty="0"/>
          </a:p>
        </p:txBody>
      </p:sp>
    </p:spTree>
    <p:extLst>
      <p:ext uri="{BB962C8B-B14F-4D97-AF65-F5344CB8AC3E}">
        <p14:creationId xmlns:p14="http://schemas.microsoft.com/office/powerpoint/2010/main" val="1024931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E95023-1887-4DEE-A1DB-35E070AA9BE4}"/>
              </a:ext>
            </a:extLst>
          </p:cNvPr>
          <p:cNvSpPr>
            <a:spLocks noGrp="1"/>
          </p:cNvSpPr>
          <p:nvPr>
            <p:ph type="body" idx="1"/>
          </p:nvPr>
        </p:nvSpPr>
        <p:spPr>
          <a:xfrm>
            <a:off x="1506551" y="1765707"/>
            <a:ext cx="9832009" cy="4259287"/>
          </a:xfrm>
        </p:spPr>
        <p:txBody>
          <a:bodyPr/>
          <a:lstStyle/>
          <a:p>
            <a:pPr marL="514350" indent="-285750">
              <a:buChar char="•"/>
            </a:pPr>
            <a:r>
              <a:rPr lang="de-CH" sz="2800" dirty="0"/>
              <a:t>Analyse und Reporting </a:t>
            </a:r>
            <a:endParaRPr lang="de-CH" sz="2800"/>
          </a:p>
          <a:p>
            <a:pPr marL="514350" indent="-285750">
              <a:spcBef>
                <a:spcPts val="600"/>
              </a:spcBef>
              <a:buChar char="•"/>
            </a:pPr>
            <a:r>
              <a:rPr lang="de-CH" sz="2800" dirty="0"/>
              <a:t>Basis schaffen für weitere Services</a:t>
            </a:r>
          </a:p>
          <a:p>
            <a:pPr marL="514350" indent="-285750">
              <a:spcBef>
                <a:spcPts val="600"/>
              </a:spcBef>
              <a:buChar char="•"/>
            </a:pPr>
            <a:r>
              <a:rPr lang="de-CH" sz="2800" dirty="0"/>
              <a:t>Geräte-Funktionen</a:t>
            </a:r>
          </a:p>
          <a:p>
            <a:pPr marL="571500" indent="-342900">
              <a:spcBef>
                <a:spcPts val="600"/>
              </a:spcBef>
              <a:buClr>
                <a:srgbClr val="707173"/>
              </a:buClr>
              <a:buChar char="•"/>
            </a:pPr>
            <a:endParaRPr lang="de-CH" sz="2800"/>
          </a:p>
          <a:p>
            <a:pPr lvl="1">
              <a:spcBef>
                <a:spcPts val="600"/>
              </a:spcBef>
            </a:pPr>
            <a:endParaRPr lang="de-CH" sz="2800"/>
          </a:p>
        </p:txBody>
      </p:sp>
      <p:sp>
        <p:nvSpPr>
          <p:cNvPr id="4" name="Title 3">
            <a:extLst>
              <a:ext uri="{FF2B5EF4-FFF2-40B4-BE49-F238E27FC236}">
                <a16:creationId xmlns:a16="http://schemas.microsoft.com/office/drawing/2014/main" id="{D87A739A-DFFB-4C21-8248-B682A313EC0A}"/>
              </a:ext>
            </a:extLst>
          </p:cNvPr>
          <p:cNvSpPr>
            <a:spLocks noGrp="1"/>
          </p:cNvSpPr>
          <p:nvPr>
            <p:ph type="title"/>
          </p:nvPr>
        </p:nvSpPr>
        <p:spPr/>
        <p:txBody>
          <a:bodyPr>
            <a:normAutofit fontScale="90000"/>
          </a:bodyPr>
          <a:lstStyle/>
          <a:p>
            <a:r>
              <a:rPr lang="en-US" err="1"/>
              <a:t>Ausblick</a:t>
            </a:r>
            <a:endParaRPr lang="de-CH"/>
          </a:p>
        </p:txBody>
      </p:sp>
      <p:pic>
        <p:nvPicPr>
          <p:cNvPr id="5" name="Picture 4">
            <a:extLst>
              <a:ext uri="{FF2B5EF4-FFF2-40B4-BE49-F238E27FC236}">
                <a16:creationId xmlns:a16="http://schemas.microsoft.com/office/drawing/2014/main" id="{124F0B41-A74D-4B50-8E36-51AA2D1BF62D}"/>
              </a:ext>
            </a:extLst>
          </p:cNvPr>
          <p:cNvPicPr>
            <a:picLocks noChangeAspect="1"/>
          </p:cNvPicPr>
          <p:nvPr/>
        </p:nvPicPr>
        <p:blipFill>
          <a:blip r:embed="rId3"/>
          <a:stretch>
            <a:fillRect/>
          </a:stretch>
        </p:blipFill>
        <p:spPr>
          <a:xfrm>
            <a:off x="8263932" y="3429000"/>
            <a:ext cx="3074628" cy="2819873"/>
          </a:xfrm>
          <a:prstGeom prst="rect">
            <a:avLst/>
          </a:prstGeom>
        </p:spPr>
      </p:pic>
    </p:spTree>
    <p:extLst>
      <p:ext uri="{BB962C8B-B14F-4D97-AF65-F5344CB8AC3E}">
        <p14:creationId xmlns:p14="http://schemas.microsoft.com/office/powerpoint/2010/main" val="2875681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4EC2D-2076-4382-9710-362CFB60BF31}"/>
              </a:ext>
            </a:extLst>
          </p:cNvPr>
          <p:cNvSpPr>
            <a:spLocks noGrp="1"/>
          </p:cNvSpPr>
          <p:nvPr>
            <p:ph type="title"/>
          </p:nvPr>
        </p:nvSpPr>
        <p:spPr/>
        <p:txBody>
          <a:bodyPr/>
          <a:lstStyle/>
          <a:p>
            <a:endParaRPr lang="de-CH"/>
          </a:p>
        </p:txBody>
      </p:sp>
      <p:pic>
        <p:nvPicPr>
          <p:cNvPr id="4" name="Picture 3" descr="A picture containing person, man, building, outdoor&#10;&#10;Description generated with very high confidence">
            <a:extLst>
              <a:ext uri="{FF2B5EF4-FFF2-40B4-BE49-F238E27FC236}">
                <a16:creationId xmlns:a16="http://schemas.microsoft.com/office/drawing/2014/main" id="{7CA603B2-95BE-4C6D-B847-F724EB3BFF8E}"/>
              </a:ext>
            </a:extLst>
          </p:cNvPr>
          <p:cNvPicPr>
            <a:picLocks noChangeAspect="1"/>
          </p:cNvPicPr>
          <p:nvPr/>
        </p:nvPicPr>
        <p:blipFill>
          <a:blip r:embed="rId3"/>
          <a:stretch>
            <a:fillRect/>
          </a:stretch>
        </p:blipFill>
        <p:spPr>
          <a:xfrm>
            <a:off x="2590800" y="685800"/>
            <a:ext cx="7010400" cy="5486400"/>
          </a:xfrm>
          <a:prstGeom prst="rect">
            <a:avLst/>
          </a:prstGeom>
        </p:spPr>
      </p:pic>
    </p:spTree>
    <p:extLst>
      <p:ext uri="{BB962C8B-B14F-4D97-AF65-F5344CB8AC3E}">
        <p14:creationId xmlns:p14="http://schemas.microsoft.com/office/powerpoint/2010/main" val="30801300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66B38F-CCC1-402F-A4DD-92C8062CF0C7}"/>
              </a:ext>
            </a:extLst>
          </p:cNvPr>
          <p:cNvSpPr>
            <a:spLocks noGrp="1"/>
          </p:cNvSpPr>
          <p:nvPr>
            <p:ph type="sldNum" idx="12"/>
          </p:nvPr>
        </p:nvSpPr>
        <p:spPr/>
        <p:txBody>
          <a:bodyPr/>
          <a:lstStyle/>
          <a:p>
            <a:pPr marL="0" lvl="0" indent="0">
              <a:spcBef>
                <a:spcPts val="0"/>
              </a:spcBef>
              <a:spcAft>
                <a:spcPts val="0"/>
              </a:spcAft>
              <a:buNone/>
            </a:pPr>
            <a:r>
              <a:rPr lang="de-DE"/>
              <a:t> </a:t>
            </a:r>
          </a:p>
        </p:txBody>
      </p:sp>
      <p:sp>
        <p:nvSpPr>
          <p:cNvPr id="4" name="Title 3">
            <a:extLst>
              <a:ext uri="{FF2B5EF4-FFF2-40B4-BE49-F238E27FC236}">
                <a16:creationId xmlns:a16="http://schemas.microsoft.com/office/drawing/2014/main" id="{783A0068-CBE5-4F36-A3C2-4ACD6ECF3E4C}"/>
              </a:ext>
            </a:extLst>
          </p:cNvPr>
          <p:cNvSpPr>
            <a:spLocks noGrp="1"/>
          </p:cNvSpPr>
          <p:nvPr>
            <p:ph type="title"/>
          </p:nvPr>
        </p:nvSpPr>
        <p:spPr/>
        <p:txBody>
          <a:bodyPr>
            <a:noAutofit/>
          </a:bodyPr>
          <a:lstStyle/>
          <a:p>
            <a:r>
              <a:rPr lang="en-US" err="1"/>
              <a:t>Fragen</a:t>
            </a:r>
            <a:endParaRPr lang="de-CH"/>
          </a:p>
        </p:txBody>
      </p:sp>
      <p:pic>
        <p:nvPicPr>
          <p:cNvPr id="6" name="Picture 5">
            <a:extLst>
              <a:ext uri="{FF2B5EF4-FFF2-40B4-BE49-F238E27FC236}">
                <a16:creationId xmlns:a16="http://schemas.microsoft.com/office/drawing/2014/main" id="{0BD3788D-97F5-4829-96D4-F3D24E8F29D3}"/>
              </a:ext>
            </a:extLst>
          </p:cNvPr>
          <p:cNvPicPr>
            <a:picLocks noChangeAspect="1"/>
          </p:cNvPicPr>
          <p:nvPr/>
        </p:nvPicPr>
        <p:blipFill>
          <a:blip r:embed="rId2"/>
          <a:stretch>
            <a:fillRect/>
          </a:stretch>
        </p:blipFill>
        <p:spPr>
          <a:xfrm>
            <a:off x="3142719" y="416444"/>
            <a:ext cx="1684195" cy="2806991"/>
          </a:xfrm>
          <a:prstGeom prst="rect">
            <a:avLst/>
          </a:prstGeom>
        </p:spPr>
      </p:pic>
      <p:pic>
        <p:nvPicPr>
          <p:cNvPr id="8" name="Picture 7" descr="A close up of a computer&#10;&#10;Description generated with high confidence">
            <a:extLst>
              <a:ext uri="{FF2B5EF4-FFF2-40B4-BE49-F238E27FC236}">
                <a16:creationId xmlns:a16="http://schemas.microsoft.com/office/drawing/2014/main" id="{263FB3E1-EE36-4718-AE57-6377D59FB3F2}"/>
              </a:ext>
            </a:extLst>
          </p:cNvPr>
          <p:cNvPicPr>
            <a:picLocks noChangeAspect="1"/>
          </p:cNvPicPr>
          <p:nvPr/>
        </p:nvPicPr>
        <p:blipFill>
          <a:blip r:embed="rId3"/>
          <a:stretch>
            <a:fillRect/>
          </a:stretch>
        </p:blipFill>
        <p:spPr>
          <a:xfrm>
            <a:off x="862120" y="3067324"/>
            <a:ext cx="3667610" cy="3437950"/>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B267CD40-BFC1-469A-8A03-1635C0051DC7}"/>
              </a:ext>
            </a:extLst>
          </p:cNvPr>
          <p:cNvPicPr>
            <a:picLocks noChangeAspect="1"/>
          </p:cNvPicPr>
          <p:nvPr/>
        </p:nvPicPr>
        <p:blipFill>
          <a:blip r:embed="rId4"/>
          <a:stretch>
            <a:fillRect/>
          </a:stretch>
        </p:blipFill>
        <p:spPr>
          <a:xfrm>
            <a:off x="5545123" y="123366"/>
            <a:ext cx="3996962" cy="4795426"/>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F5A1BC9-3F1E-449B-8165-D79A628874A2}"/>
              </a:ext>
            </a:extLst>
          </p:cNvPr>
          <p:cNvPicPr>
            <a:picLocks noChangeAspect="1"/>
          </p:cNvPicPr>
          <p:nvPr/>
        </p:nvPicPr>
        <p:blipFill>
          <a:blip r:embed="rId5"/>
          <a:stretch>
            <a:fillRect/>
          </a:stretch>
        </p:blipFill>
        <p:spPr>
          <a:xfrm>
            <a:off x="9663456" y="2658500"/>
            <a:ext cx="2078634" cy="36953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Arrow: Down 12">
            <a:extLst>
              <a:ext uri="{FF2B5EF4-FFF2-40B4-BE49-F238E27FC236}">
                <a16:creationId xmlns:a16="http://schemas.microsoft.com/office/drawing/2014/main" id="{DFD47D30-1F42-4282-A34A-5F93C3FF554A}"/>
              </a:ext>
            </a:extLst>
          </p:cNvPr>
          <p:cNvSpPr/>
          <p:nvPr/>
        </p:nvSpPr>
        <p:spPr>
          <a:xfrm rot="5400000">
            <a:off x="4928747" y="3961341"/>
            <a:ext cx="217358" cy="1015394"/>
          </a:xfrm>
          <a:prstGeom prst="downArrow">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
        <p:nvSpPr>
          <p:cNvPr id="11" name="Arrow: Down 10">
            <a:extLst>
              <a:ext uri="{FF2B5EF4-FFF2-40B4-BE49-F238E27FC236}">
                <a16:creationId xmlns:a16="http://schemas.microsoft.com/office/drawing/2014/main" id="{EA53C3D3-0A60-4648-A8BC-0CC3E895D88C}"/>
              </a:ext>
            </a:extLst>
          </p:cNvPr>
          <p:cNvSpPr/>
          <p:nvPr/>
        </p:nvSpPr>
        <p:spPr>
          <a:xfrm rot="5400000">
            <a:off x="6987069" y="2806522"/>
            <a:ext cx="217358" cy="5135415"/>
          </a:xfrm>
          <a:prstGeom prst="downArrow">
            <a:avLst/>
          </a:prstGeom>
          <a:solidFill>
            <a:schemeClr val="accent1"/>
          </a:solidFill>
        </p:spPr>
        <p:txBody>
          <a:bodyPr wrap="square" lIns="72000" tIns="72000" rIns="72000" bIns="72000" rtlCol="0" anchor="ctr">
            <a:noAutofit/>
          </a:bodyPr>
          <a:lstStyle/>
          <a:p>
            <a:pPr algn="ctr"/>
            <a:endParaRPr lang="de-CH" sz="1600" err="1">
              <a:solidFill>
                <a:schemeClr val="bg1"/>
              </a:solidFill>
            </a:endParaRPr>
          </a:p>
        </p:txBody>
      </p:sp>
    </p:spTree>
    <p:extLst>
      <p:ext uri="{BB962C8B-B14F-4D97-AF65-F5344CB8AC3E}">
        <p14:creationId xmlns:p14="http://schemas.microsoft.com/office/powerpoint/2010/main" val="39170696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Shape 145"/>
          <p:cNvSpPr txBox="1">
            <a:spLocks noGrp="1"/>
          </p:cNvSpPr>
          <p:nvPr>
            <p:ph type="sldNum" idx="12"/>
          </p:nvPr>
        </p:nvSpPr>
        <p:spPr>
          <a:xfrm>
            <a:off x="11404703" y="6970098"/>
            <a:ext cx="480000" cy="240000"/>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fld id="{00000000-1234-1234-1234-123412341234}" type="slidenum">
              <a:rPr lang="de-DE" sz="800">
                <a:solidFill>
                  <a:srgbClr val="888888"/>
                </a:solidFill>
                <a:latin typeface="Arial"/>
                <a:ea typeface="Arial"/>
                <a:cs typeface="Arial"/>
                <a:sym typeface="Arial"/>
              </a:rPr>
              <a:t>21</a:t>
            </a:fld>
            <a:endParaRPr sz="800">
              <a:solidFill>
                <a:srgbClr val="888888"/>
              </a:solidFill>
              <a:latin typeface="Arial"/>
              <a:ea typeface="Arial"/>
              <a:cs typeface="Arial"/>
              <a:sym typeface="Arial"/>
            </a:endParaRPr>
          </a:p>
        </p:txBody>
      </p:sp>
      <p:sp>
        <p:nvSpPr>
          <p:cNvPr id="146" name="Shape 146"/>
          <p:cNvSpPr txBox="1">
            <a:spLocks noGrp="1"/>
          </p:cNvSpPr>
          <p:nvPr>
            <p:ph type="body" idx="2"/>
          </p:nvPr>
        </p:nvSpPr>
        <p:spPr>
          <a:xfrm>
            <a:off x="7424163" y="4954599"/>
            <a:ext cx="4454217" cy="14124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lt2"/>
              </a:buClr>
              <a:buSzPts val="1800"/>
              <a:buFont typeface="Arial"/>
              <a:buNone/>
            </a:pPr>
            <a:r>
              <a:rPr lang="de-DE"/>
              <a:t>a</a:t>
            </a:r>
            <a:r>
              <a:rPr lang="de-DE" sz="1800" b="0" i="0" u="none" strike="noStrike" cap="none">
                <a:solidFill>
                  <a:schemeClr val="lt2"/>
                </a:solidFill>
                <a:latin typeface="Arial"/>
                <a:ea typeface="Arial"/>
                <a:cs typeface="Arial"/>
                <a:sym typeface="Arial"/>
              </a:rPr>
              <a:t>ntonino.leanza@bbv.ch</a:t>
            </a:r>
            <a:endParaRPr/>
          </a:p>
          <a:p>
            <a:pPr marL="0" lvl="0" indent="0"/>
            <a:r>
              <a:rPr lang="de-DE" sz="1800" b="0" i="0" u="none" strike="noStrike" cap="none">
                <a:solidFill>
                  <a:schemeClr val="lt2"/>
                </a:solidFill>
                <a:latin typeface="Arial"/>
                <a:ea typeface="Arial"/>
                <a:cs typeface="Arial"/>
                <a:sym typeface="Arial"/>
              </a:rPr>
              <a:t>Telefon </a:t>
            </a:r>
            <a:r>
              <a:rPr lang="de-CH"/>
              <a:t>+41 44 315 63 19</a:t>
            </a:r>
            <a:endParaRPr/>
          </a:p>
          <a:p>
            <a:pPr marL="0" marR="0" lvl="0" indent="0" algn="l" rtl="0">
              <a:spcBef>
                <a:spcPts val="667"/>
              </a:spcBef>
              <a:spcAft>
                <a:spcPts val="0"/>
              </a:spcAft>
              <a:buClr>
                <a:schemeClr val="lt2"/>
              </a:buClr>
              <a:buSzPts val="1800"/>
              <a:buFont typeface="Arial"/>
              <a:buNone/>
            </a:pPr>
            <a:r>
              <a:rPr lang="de-DE" sz="1800" b="0" i="0" u="none" strike="noStrike" cap="none">
                <a:solidFill>
                  <a:schemeClr val="lt2"/>
                </a:solidFill>
                <a:latin typeface="Arial"/>
                <a:ea typeface="Arial"/>
                <a:cs typeface="Arial"/>
                <a:sym typeface="Arial"/>
              </a:rPr>
              <a:t>www.bbv.ch</a:t>
            </a:r>
            <a:endParaRPr sz="1800" b="0" i="0" u="none" strike="noStrike" cap="none">
              <a:solidFill>
                <a:schemeClr val="lt2"/>
              </a:solidFill>
              <a:latin typeface="Arial"/>
              <a:ea typeface="Arial"/>
              <a:cs typeface="Arial"/>
              <a:sym typeface="Arial"/>
            </a:endParaRPr>
          </a:p>
        </p:txBody>
      </p:sp>
      <p:sp>
        <p:nvSpPr>
          <p:cNvPr id="147" name="Shape 147"/>
          <p:cNvSpPr txBox="1">
            <a:spLocks noGrp="1"/>
          </p:cNvSpPr>
          <p:nvPr>
            <p:ph type="body" idx="3"/>
          </p:nvPr>
        </p:nvSpPr>
        <p:spPr>
          <a:xfrm>
            <a:off x="2656978" y="4954599"/>
            <a:ext cx="4654188" cy="141248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lt2"/>
              </a:buClr>
              <a:buSzPts val="1800"/>
              <a:buFont typeface="Arial"/>
              <a:buNone/>
            </a:pPr>
            <a:r>
              <a:rPr lang="de-DE" sz="1800" b="0" i="0" u="none" strike="noStrike" cap="none">
                <a:solidFill>
                  <a:schemeClr val="accent1"/>
                </a:solidFill>
                <a:latin typeface="Arial"/>
                <a:ea typeface="Arial"/>
                <a:cs typeface="Arial"/>
                <a:sym typeface="Arial"/>
              </a:rPr>
              <a:t>Antonino Leanza | Cloud-Architekt</a:t>
            </a:r>
            <a:endParaRPr/>
          </a:p>
          <a:p>
            <a:pPr marL="0" marR="0" lvl="0" indent="0" algn="l" rtl="0">
              <a:spcBef>
                <a:spcPts val="667"/>
              </a:spcBef>
              <a:spcAft>
                <a:spcPts val="0"/>
              </a:spcAft>
              <a:buClr>
                <a:schemeClr val="lt2"/>
              </a:buClr>
              <a:buSzPts val="1800"/>
              <a:buFont typeface="Arial"/>
              <a:buNone/>
            </a:pPr>
            <a:r>
              <a:rPr lang="de-DE" sz="1800" b="0" i="0" u="none" strike="noStrike" cap="none" err="1">
                <a:solidFill>
                  <a:schemeClr val="lt2"/>
                </a:solidFill>
                <a:latin typeface="Arial"/>
                <a:ea typeface="Arial"/>
                <a:cs typeface="Arial"/>
                <a:sym typeface="Arial"/>
              </a:rPr>
              <a:t>bbv</a:t>
            </a:r>
            <a:r>
              <a:rPr lang="de-DE" sz="1800" b="0" i="0" u="none" strike="noStrike" cap="none">
                <a:solidFill>
                  <a:schemeClr val="lt2"/>
                </a:solidFill>
                <a:latin typeface="Arial"/>
                <a:ea typeface="Arial"/>
                <a:cs typeface="Arial"/>
                <a:sym typeface="Arial"/>
              </a:rPr>
              <a:t> Software Services AG</a:t>
            </a:r>
            <a:endParaRPr/>
          </a:p>
          <a:p>
            <a:pPr marL="0" marR="0" lvl="0" indent="0" algn="l" rtl="0">
              <a:spcBef>
                <a:spcPts val="667"/>
              </a:spcBef>
              <a:spcAft>
                <a:spcPts val="0"/>
              </a:spcAft>
              <a:buClr>
                <a:schemeClr val="lt2"/>
              </a:buClr>
              <a:buSzPts val="1800"/>
              <a:buFont typeface="Arial"/>
              <a:buNone/>
            </a:pPr>
            <a:r>
              <a:rPr lang="de-DE" sz="1800" b="0" i="0" u="none" strike="noStrike" cap="none">
                <a:solidFill>
                  <a:schemeClr val="lt2"/>
                </a:solidFill>
                <a:latin typeface="Arial"/>
                <a:ea typeface="Arial"/>
                <a:cs typeface="Arial"/>
                <a:sym typeface="Arial"/>
              </a:rPr>
              <a:t>Blumenrain 10</a:t>
            </a:r>
            <a:endParaRPr/>
          </a:p>
          <a:p>
            <a:pPr marL="0" marR="0" lvl="0" indent="0" algn="l" rtl="0">
              <a:spcBef>
                <a:spcPts val="667"/>
              </a:spcBef>
              <a:spcAft>
                <a:spcPts val="0"/>
              </a:spcAft>
              <a:buClr>
                <a:schemeClr val="lt2"/>
              </a:buClr>
              <a:buSzPts val="1800"/>
              <a:buFont typeface="Arial"/>
              <a:buNone/>
            </a:pPr>
            <a:r>
              <a:rPr lang="de-DE" sz="1800" b="0" i="0" u="none" strike="noStrike" cap="none">
                <a:solidFill>
                  <a:schemeClr val="lt2"/>
                </a:solidFill>
                <a:latin typeface="Arial"/>
                <a:ea typeface="Arial"/>
                <a:cs typeface="Arial"/>
                <a:sym typeface="Arial"/>
              </a:rPr>
              <a:t>6002 Luzern</a:t>
            </a:r>
            <a:endParaRPr/>
          </a:p>
        </p:txBody>
      </p:sp>
      <p:sp>
        <p:nvSpPr>
          <p:cNvPr id="3" name="Text Placeholder 2">
            <a:extLst>
              <a:ext uri="{FF2B5EF4-FFF2-40B4-BE49-F238E27FC236}">
                <a16:creationId xmlns:a16="http://schemas.microsoft.com/office/drawing/2014/main" id="{9404A746-6B67-43D5-9FC9-1E1F219669EA}"/>
              </a:ext>
            </a:extLst>
          </p:cNvPr>
          <p:cNvSpPr>
            <a:spLocks noGrp="1"/>
          </p:cNvSpPr>
          <p:nvPr>
            <p:ph type="body" idx="3"/>
          </p:nvPr>
        </p:nvSpPr>
        <p:spPr/>
        <p:txBody>
          <a:bodyPr/>
          <a:lstStyle/>
          <a:p>
            <a:endParaRPr lang="de-CH"/>
          </a:p>
        </p:txBody>
      </p:sp>
      <p:sp>
        <p:nvSpPr>
          <p:cNvPr id="5" name="Text Placeholder 4">
            <a:extLst>
              <a:ext uri="{FF2B5EF4-FFF2-40B4-BE49-F238E27FC236}">
                <a16:creationId xmlns:a16="http://schemas.microsoft.com/office/drawing/2014/main" id="{90598FD4-3D98-4C14-B8B3-217D2D9FB532}"/>
              </a:ext>
            </a:extLst>
          </p:cNvPr>
          <p:cNvSpPr>
            <a:spLocks noGrp="1"/>
          </p:cNvSpPr>
          <p:nvPr>
            <p:ph type="body" idx="2"/>
          </p:nvPr>
        </p:nvSpPr>
        <p:spPr/>
        <p:txBody>
          <a:bodyPr/>
          <a:lstStyle/>
          <a:p>
            <a:endParaRPr lang="de-CH"/>
          </a:p>
        </p:txBody>
      </p:sp>
    </p:spTree>
    <p:extLst>
      <p:ext uri="{BB962C8B-B14F-4D97-AF65-F5344CB8AC3E}">
        <p14:creationId xmlns:p14="http://schemas.microsoft.com/office/powerpoint/2010/main" val="1212696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70AD9-764B-4571-B5CB-F9AB3589C5E9}"/>
              </a:ext>
            </a:extLst>
          </p:cNvPr>
          <p:cNvSpPr>
            <a:spLocks noGrp="1"/>
          </p:cNvSpPr>
          <p:nvPr>
            <p:ph type="title"/>
          </p:nvPr>
        </p:nvSpPr>
        <p:spPr/>
        <p:txBody>
          <a:bodyPr/>
          <a:lstStyle/>
          <a:p>
            <a:r>
              <a:rPr lang="en-US" dirty="0"/>
              <a:t>Agathon</a:t>
            </a:r>
            <a:endParaRPr lang="de-CH" dirty="0"/>
          </a:p>
        </p:txBody>
      </p:sp>
      <p:sp>
        <p:nvSpPr>
          <p:cNvPr id="4" name="Textplatzhalter 8">
            <a:extLst>
              <a:ext uri="{FF2B5EF4-FFF2-40B4-BE49-F238E27FC236}">
                <a16:creationId xmlns:a16="http://schemas.microsoft.com/office/drawing/2014/main" id="{25B8E658-1E8E-4914-B88C-08F252FDA96A}"/>
              </a:ext>
            </a:extLst>
          </p:cNvPr>
          <p:cNvSpPr txBox="1">
            <a:spLocks/>
          </p:cNvSpPr>
          <p:nvPr/>
        </p:nvSpPr>
        <p:spPr>
          <a:xfrm>
            <a:off x="2011642" y="4415513"/>
            <a:ext cx="7947025" cy="1938337"/>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216000"/>
            <a:r>
              <a:rPr lang="de-CH" sz="1800" dirty="0"/>
              <a:t>210 qualifizierte Arbeitsplätze in Bellach (SO)</a:t>
            </a:r>
          </a:p>
          <a:p>
            <a:pPr lvl="1"/>
            <a:r>
              <a:rPr lang="de-CH" dirty="0"/>
              <a:t>+20 international +15 Auszubildende</a:t>
            </a:r>
          </a:p>
          <a:p>
            <a:pPr lvl="1"/>
            <a:endParaRPr lang="de-CH" dirty="0"/>
          </a:p>
          <a:p>
            <a:r>
              <a:rPr lang="de-CH" sz="1800" dirty="0"/>
              <a:t>Schweizer KMU </a:t>
            </a:r>
          </a:p>
          <a:p>
            <a:pPr lvl="1"/>
            <a:r>
              <a:rPr lang="de-CH" dirty="0"/>
              <a:t>Gegründet 1918, vierte Geschäftsführungs-Generation, Privatbesitz</a:t>
            </a:r>
          </a:p>
          <a:p>
            <a:pPr lvl="1"/>
            <a:r>
              <a:rPr lang="de-CH" dirty="0"/>
              <a:t>Fokus auf Präzisionsschleifmaschinen und Präzisionsführungselemente</a:t>
            </a:r>
          </a:p>
          <a:p>
            <a:pPr lvl="1"/>
            <a:endParaRPr lang="de-CH" dirty="0"/>
          </a:p>
          <a:p>
            <a:pPr lvl="1"/>
            <a:endParaRPr lang="de-CH" dirty="0"/>
          </a:p>
        </p:txBody>
      </p:sp>
      <p:pic>
        <p:nvPicPr>
          <p:cNvPr id="5" name="Picture 2">
            <a:extLst>
              <a:ext uri="{FF2B5EF4-FFF2-40B4-BE49-F238E27FC236}">
                <a16:creationId xmlns:a16="http://schemas.microsoft.com/office/drawing/2014/main" id="{22716358-4834-4D9C-A6E8-35F81E17B844}"/>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p:blipFill>
        <p:spPr bwMode="auto">
          <a:xfrm>
            <a:off x="2011642" y="1521499"/>
            <a:ext cx="3490913" cy="2593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a:extLst>
              <a:ext uri="{FF2B5EF4-FFF2-40B4-BE49-F238E27FC236}">
                <a16:creationId xmlns:a16="http://schemas.microsoft.com/office/drawing/2014/main" id="{F611FF47-826F-4A74-9C1F-2B535E21A48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6221693" y="1521500"/>
            <a:ext cx="3492500" cy="2593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528651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8E00A-8C89-438F-AF63-6EB59273350D}"/>
              </a:ext>
            </a:extLst>
          </p:cNvPr>
          <p:cNvSpPr>
            <a:spLocks noGrp="1"/>
          </p:cNvSpPr>
          <p:nvPr>
            <p:ph type="title"/>
          </p:nvPr>
        </p:nvSpPr>
        <p:spPr/>
        <p:txBody>
          <a:bodyPr/>
          <a:lstStyle/>
          <a:p>
            <a:r>
              <a:rPr lang="en-US" dirty="0"/>
              <a:t>Agathon - </a:t>
            </a:r>
            <a:r>
              <a:rPr lang="en-US" dirty="0" err="1"/>
              <a:t>Hauptaktivitäten</a:t>
            </a:r>
            <a:endParaRPr lang="de-CH" dirty="0"/>
          </a:p>
        </p:txBody>
      </p:sp>
      <p:sp>
        <p:nvSpPr>
          <p:cNvPr id="3" name="Textplatzhalter 3">
            <a:extLst>
              <a:ext uri="{FF2B5EF4-FFF2-40B4-BE49-F238E27FC236}">
                <a16:creationId xmlns:a16="http://schemas.microsoft.com/office/drawing/2014/main" id="{EFB4F917-1A13-43A1-AB78-C90B5E478D5D}"/>
              </a:ext>
            </a:extLst>
          </p:cNvPr>
          <p:cNvSpPr txBox="1">
            <a:spLocks/>
          </p:cNvSpPr>
          <p:nvPr/>
        </p:nvSpPr>
        <p:spPr>
          <a:xfrm>
            <a:off x="1012859" y="1620838"/>
            <a:ext cx="2645280" cy="2436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CH" sz="1600" dirty="0"/>
              <a:t>Schleifmaschinen und Lasermaschinen</a:t>
            </a:r>
          </a:p>
        </p:txBody>
      </p:sp>
      <p:sp>
        <p:nvSpPr>
          <p:cNvPr id="4" name="Textplatzhalter 5">
            <a:extLst>
              <a:ext uri="{FF2B5EF4-FFF2-40B4-BE49-F238E27FC236}">
                <a16:creationId xmlns:a16="http://schemas.microsoft.com/office/drawing/2014/main" id="{F2F0F876-63F1-4066-9FE0-372D2BAF39A8}"/>
              </a:ext>
            </a:extLst>
          </p:cNvPr>
          <p:cNvSpPr txBox="1">
            <a:spLocks/>
          </p:cNvSpPr>
          <p:nvPr/>
        </p:nvSpPr>
        <p:spPr>
          <a:xfrm>
            <a:off x="7851556" y="1620838"/>
            <a:ext cx="2888161" cy="5713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CH" sz="1600" dirty="0"/>
              <a:t>Führungselemente und Standardteile (Normalien)</a:t>
            </a:r>
          </a:p>
        </p:txBody>
      </p:sp>
      <p:sp>
        <p:nvSpPr>
          <p:cNvPr id="5" name="Textplatzhalter 7">
            <a:extLst>
              <a:ext uri="{FF2B5EF4-FFF2-40B4-BE49-F238E27FC236}">
                <a16:creationId xmlns:a16="http://schemas.microsoft.com/office/drawing/2014/main" id="{E0CEDF51-8566-49EB-8A82-8B3E0D256511}"/>
              </a:ext>
            </a:extLst>
          </p:cNvPr>
          <p:cNvSpPr txBox="1">
            <a:spLocks/>
          </p:cNvSpPr>
          <p:nvPr/>
        </p:nvSpPr>
        <p:spPr>
          <a:xfrm>
            <a:off x="4626644" y="1620838"/>
            <a:ext cx="2404800" cy="2436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CH" sz="1600" dirty="0"/>
              <a:t>Support und Service</a:t>
            </a:r>
          </a:p>
          <a:p>
            <a:endParaRPr lang="de-CH" sz="1600" dirty="0"/>
          </a:p>
        </p:txBody>
      </p:sp>
      <p:pic>
        <p:nvPicPr>
          <p:cNvPr id="6" name="Grafik 5">
            <a:extLst>
              <a:ext uri="{FF2B5EF4-FFF2-40B4-BE49-F238E27FC236}">
                <a16:creationId xmlns:a16="http://schemas.microsoft.com/office/drawing/2014/main" id="{85363724-3CEE-4892-9D05-BC20E4CA68A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1007" t="2199" r="21317" b="1944"/>
          <a:stretch/>
        </p:blipFill>
        <p:spPr>
          <a:xfrm>
            <a:off x="4625320" y="2342084"/>
            <a:ext cx="2404800" cy="3507379"/>
          </a:xfrm>
          <a:prstGeom prst="rect">
            <a:avLst/>
          </a:prstGeom>
        </p:spPr>
      </p:pic>
      <p:pic>
        <p:nvPicPr>
          <p:cNvPr id="7" name="Picture 2" descr="J:\04_Fotos\01_WSP\GrindTec_Stand-Rückwand\DSC_8854_klein.jpg">
            <a:extLst>
              <a:ext uri="{FF2B5EF4-FFF2-40B4-BE49-F238E27FC236}">
                <a16:creationId xmlns:a16="http://schemas.microsoft.com/office/drawing/2014/main" id="{8B4A5B12-FC82-4EA8-B8DC-3E9F368CA7EF}"/>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l="25836" r="28457"/>
          <a:stretch/>
        </p:blipFill>
        <p:spPr bwMode="auto">
          <a:xfrm>
            <a:off x="7851557" y="2342083"/>
            <a:ext cx="2404800" cy="3507379"/>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a:extLst>
              <a:ext uri="{FF2B5EF4-FFF2-40B4-BE49-F238E27FC236}">
                <a16:creationId xmlns:a16="http://schemas.microsoft.com/office/drawing/2014/main" id="{E094783C-39E2-428B-9FE4-F5CDAD641610}"/>
              </a:ext>
            </a:extLst>
          </p:cNvPr>
          <p:cNvGrpSpPr/>
          <p:nvPr/>
        </p:nvGrpSpPr>
        <p:grpSpPr>
          <a:xfrm>
            <a:off x="968858" y="2349860"/>
            <a:ext cx="2645281" cy="3566505"/>
            <a:chOff x="685348" y="2348272"/>
            <a:chExt cx="2577295" cy="3566505"/>
          </a:xfrm>
        </p:grpSpPr>
        <p:pic>
          <p:nvPicPr>
            <p:cNvPr id="9" name="Grafik 8">
              <a:extLst>
                <a:ext uri="{FF2B5EF4-FFF2-40B4-BE49-F238E27FC236}">
                  <a16:creationId xmlns:a16="http://schemas.microsoft.com/office/drawing/2014/main" id="{7E61DDC0-86FB-4D72-B48A-EA06D17ECD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348" y="2348272"/>
              <a:ext cx="2495652" cy="2231892"/>
            </a:xfrm>
            <a:prstGeom prst="rect">
              <a:avLst/>
            </a:prstGeom>
          </p:spPr>
        </p:pic>
        <p:pic>
          <p:nvPicPr>
            <p:cNvPr id="10" name="Grafik 9">
              <a:extLst>
                <a:ext uri="{FF2B5EF4-FFF2-40B4-BE49-F238E27FC236}">
                  <a16:creationId xmlns:a16="http://schemas.microsoft.com/office/drawing/2014/main" id="{1DA9F0DB-95A7-422A-94E3-906F63B5C4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42995" y="3755571"/>
              <a:ext cx="1619648" cy="2159206"/>
            </a:xfrm>
            <a:prstGeom prst="rect">
              <a:avLst/>
            </a:prstGeom>
          </p:spPr>
        </p:pic>
      </p:grpSp>
    </p:spTree>
    <p:extLst>
      <p:ext uri="{BB962C8B-B14F-4D97-AF65-F5344CB8AC3E}">
        <p14:creationId xmlns:p14="http://schemas.microsoft.com/office/powerpoint/2010/main" val="1756613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66CA-F6D7-4644-9865-99FE1E1A83E8}"/>
              </a:ext>
            </a:extLst>
          </p:cNvPr>
          <p:cNvSpPr>
            <a:spLocks noGrp="1"/>
          </p:cNvSpPr>
          <p:nvPr>
            <p:ph type="title"/>
          </p:nvPr>
        </p:nvSpPr>
        <p:spPr/>
        <p:txBody>
          <a:bodyPr/>
          <a:lstStyle/>
          <a:p>
            <a:r>
              <a:rPr lang="en-US" dirty="0"/>
              <a:t>Agathon – </a:t>
            </a:r>
            <a:r>
              <a:rPr lang="en-US" dirty="0" err="1"/>
              <a:t>Perfekte</a:t>
            </a:r>
            <a:r>
              <a:rPr lang="en-US" dirty="0"/>
              <a:t> </a:t>
            </a:r>
            <a:r>
              <a:rPr lang="en-US" dirty="0" err="1"/>
              <a:t>Lösung</a:t>
            </a:r>
            <a:r>
              <a:rPr lang="en-US" dirty="0"/>
              <a:t> </a:t>
            </a:r>
            <a:r>
              <a:rPr lang="en-US" dirty="0" err="1"/>
              <a:t>für</a:t>
            </a:r>
            <a:r>
              <a:rPr lang="en-US" dirty="0"/>
              <a:t> </a:t>
            </a:r>
            <a:r>
              <a:rPr lang="en-US" dirty="0" err="1"/>
              <a:t>jede</a:t>
            </a:r>
            <a:r>
              <a:rPr lang="en-US" dirty="0"/>
              <a:t> </a:t>
            </a:r>
            <a:r>
              <a:rPr lang="en-US" dirty="0" err="1"/>
              <a:t>Anwendung</a:t>
            </a:r>
            <a:endParaRPr lang="de-CH" dirty="0"/>
          </a:p>
        </p:txBody>
      </p:sp>
      <p:sp>
        <p:nvSpPr>
          <p:cNvPr id="3" name="Textplatzhalter 49">
            <a:extLst>
              <a:ext uri="{FF2B5EF4-FFF2-40B4-BE49-F238E27FC236}">
                <a16:creationId xmlns:a16="http://schemas.microsoft.com/office/drawing/2014/main" id="{8CAADA24-3666-4B0C-B669-490CC0F7B20E}"/>
              </a:ext>
            </a:extLst>
          </p:cNvPr>
          <p:cNvSpPr txBox="1">
            <a:spLocks/>
          </p:cNvSpPr>
          <p:nvPr/>
        </p:nvSpPr>
        <p:spPr>
          <a:xfrm>
            <a:off x="2114097" y="2963755"/>
            <a:ext cx="3490913" cy="2436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a:t>Leo Peri</a:t>
            </a:r>
            <a:r>
              <a:rPr lang="en-US" sz="1400" dirty="0"/>
              <a:t> –</a:t>
            </a:r>
            <a:r>
              <a:rPr lang="de-CH" sz="1400" dirty="0"/>
              <a:t> 4-achsiges Schleifzentrum mit einer Standfläche von knapp 4 m</a:t>
            </a:r>
            <a:r>
              <a:rPr lang="de-CH" sz="1400" baseline="30000" dirty="0"/>
              <a:t>2</a:t>
            </a:r>
            <a:r>
              <a:rPr lang="de-CH" sz="1400" dirty="0"/>
              <a:t> </a:t>
            </a:r>
          </a:p>
        </p:txBody>
      </p:sp>
      <p:sp>
        <p:nvSpPr>
          <p:cNvPr id="4" name="Textplatzhalter 53">
            <a:extLst>
              <a:ext uri="{FF2B5EF4-FFF2-40B4-BE49-F238E27FC236}">
                <a16:creationId xmlns:a16="http://schemas.microsoft.com/office/drawing/2014/main" id="{3066B41F-61D7-4F20-905F-789A4885D7E7}"/>
              </a:ext>
            </a:extLst>
          </p:cNvPr>
          <p:cNvSpPr txBox="1">
            <a:spLocks/>
          </p:cNvSpPr>
          <p:nvPr/>
        </p:nvSpPr>
        <p:spPr>
          <a:xfrm>
            <a:off x="7142917" y="2963755"/>
            <a:ext cx="3492500" cy="2436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de-DE" sz="1400" b="1" dirty="0"/>
              <a:t>Dom Plus</a:t>
            </a:r>
            <a:r>
              <a:rPr lang="en-US" altLang="de-DE" sz="1400" dirty="0"/>
              <a:t> </a:t>
            </a:r>
            <a:r>
              <a:rPr lang="en-US" sz="1400" dirty="0"/>
              <a:t>–</a:t>
            </a:r>
            <a:r>
              <a:rPr lang="en-US" altLang="de-DE" sz="1400" dirty="0"/>
              <a:t> 4-achsige </a:t>
            </a:r>
            <a:r>
              <a:rPr lang="de-CH" sz="1400" dirty="0"/>
              <a:t>Schleifmaschine zur Bearbeitung von Wende-schneidplatten am Umfang</a:t>
            </a:r>
          </a:p>
          <a:p>
            <a:endParaRPr lang="de-CH" sz="1400" dirty="0"/>
          </a:p>
        </p:txBody>
      </p:sp>
      <p:sp>
        <p:nvSpPr>
          <p:cNvPr id="5" name="Textplatzhalter 55">
            <a:extLst>
              <a:ext uri="{FF2B5EF4-FFF2-40B4-BE49-F238E27FC236}">
                <a16:creationId xmlns:a16="http://schemas.microsoft.com/office/drawing/2014/main" id="{C030E119-0993-4F31-9D0F-088C502FF421}"/>
              </a:ext>
            </a:extLst>
          </p:cNvPr>
          <p:cNvSpPr txBox="1">
            <a:spLocks/>
          </p:cNvSpPr>
          <p:nvPr/>
        </p:nvSpPr>
        <p:spPr>
          <a:xfrm>
            <a:off x="2114097" y="5623364"/>
            <a:ext cx="3490913" cy="2436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de-DE" sz="1400" b="1" dirty="0"/>
              <a:t>Evo </a:t>
            </a:r>
            <a:r>
              <a:rPr lang="en-US" altLang="de-DE" sz="1400" b="1" dirty="0" err="1"/>
              <a:t>Combi</a:t>
            </a:r>
            <a:r>
              <a:rPr lang="en-US" altLang="de-DE" sz="1400" dirty="0"/>
              <a:t> </a:t>
            </a:r>
            <a:r>
              <a:rPr lang="en-US" sz="1400" dirty="0"/>
              <a:t>–</a:t>
            </a:r>
            <a:r>
              <a:rPr lang="en-US" altLang="de-DE" sz="1400" dirty="0"/>
              <a:t> </a:t>
            </a:r>
            <a:r>
              <a:rPr lang="de-CH" sz="1400" dirty="0"/>
              <a:t>4-achsige Schleifmaschine zur Bearbeitung von Wende-schneidplatten am Umfang mit zwei Schutzfasen in einer Aufspannung</a:t>
            </a:r>
          </a:p>
          <a:p>
            <a:endParaRPr lang="de-CH" sz="1400" dirty="0"/>
          </a:p>
        </p:txBody>
      </p:sp>
      <p:sp>
        <p:nvSpPr>
          <p:cNvPr id="6" name="Textplatzhalter 59">
            <a:extLst>
              <a:ext uri="{FF2B5EF4-FFF2-40B4-BE49-F238E27FC236}">
                <a16:creationId xmlns:a16="http://schemas.microsoft.com/office/drawing/2014/main" id="{15881EBD-0357-40F7-81AD-42DBA2B965FB}"/>
              </a:ext>
            </a:extLst>
          </p:cNvPr>
          <p:cNvSpPr txBox="1">
            <a:spLocks/>
          </p:cNvSpPr>
          <p:nvPr/>
        </p:nvSpPr>
        <p:spPr>
          <a:xfrm>
            <a:off x="7142917" y="5623364"/>
            <a:ext cx="3492500" cy="2436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a:t>Evo Penta</a:t>
            </a:r>
            <a:r>
              <a:rPr lang="en-US" sz="1400" dirty="0"/>
              <a:t> – 5-achsige </a:t>
            </a:r>
            <a:r>
              <a:rPr lang="en-US" sz="1400" dirty="0" err="1"/>
              <a:t>Schleifmaschine</a:t>
            </a:r>
            <a:r>
              <a:rPr lang="en-US" sz="1400" dirty="0"/>
              <a:t> </a:t>
            </a:r>
            <a:r>
              <a:rPr lang="en-US" sz="1400" dirty="0" err="1"/>
              <a:t>für</a:t>
            </a:r>
            <a:r>
              <a:rPr lang="en-US" sz="1400" dirty="0"/>
              <a:t> die </a:t>
            </a:r>
            <a:r>
              <a:rPr lang="en-US" sz="1400" dirty="0" err="1"/>
              <a:t>Bearbeitung</a:t>
            </a:r>
            <a:r>
              <a:rPr lang="en-US" sz="1400" dirty="0"/>
              <a:t> von </a:t>
            </a:r>
            <a:r>
              <a:rPr lang="en-US" sz="1400" dirty="0" err="1"/>
              <a:t>komplexen</a:t>
            </a:r>
            <a:r>
              <a:rPr lang="en-US" sz="1400" dirty="0"/>
              <a:t> </a:t>
            </a:r>
            <a:r>
              <a:rPr lang="en-US" sz="1400" dirty="0" err="1"/>
              <a:t>Geometrien</a:t>
            </a:r>
            <a:endParaRPr lang="en-US" sz="1400" dirty="0"/>
          </a:p>
          <a:p>
            <a:endParaRPr lang="de-CH" sz="1400" dirty="0"/>
          </a:p>
        </p:txBody>
      </p:sp>
      <p:pic>
        <p:nvPicPr>
          <p:cNvPr id="7" name="Grafik 6">
            <a:extLst>
              <a:ext uri="{FF2B5EF4-FFF2-40B4-BE49-F238E27FC236}">
                <a16:creationId xmlns:a16="http://schemas.microsoft.com/office/drawing/2014/main" id="{88C9D047-5EDD-4DA3-B17B-D3FA5754C12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4097" y="1622327"/>
            <a:ext cx="1409171" cy="1260000"/>
          </a:xfrm>
          <a:prstGeom prst="rect">
            <a:avLst/>
          </a:prstGeom>
        </p:spPr>
      </p:pic>
      <p:pic>
        <p:nvPicPr>
          <p:cNvPr id="8" name="Picture 4" descr="J:\04_Fotos\01_WSP\Evo Combi\Agathon_Evo_Penta_modi_small.jpg">
            <a:extLst>
              <a:ext uri="{FF2B5EF4-FFF2-40B4-BE49-F238E27FC236}">
                <a16:creationId xmlns:a16="http://schemas.microsoft.com/office/drawing/2014/main" id="{ABE00C11-767F-4DDD-B3F6-ABA8DF24007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42914" y="4251658"/>
            <a:ext cx="1875612" cy="126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J:\04_Fotos\01_WSP\Evo Combi\Agathon_Evo_Combi_modi_small.jpg">
            <a:extLst>
              <a:ext uri="{FF2B5EF4-FFF2-40B4-BE49-F238E27FC236}">
                <a16:creationId xmlns:a16="http://schemas.microsoft.com/office/drawing/2014/main" id="{7F226D81-0665-45DF-BCC8-D984096C989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4094" y="4290457"/>
            <a:ext cx="1871560" cy="126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J:\04_Fotos\01_WSP\Dom Plus\Dom_rechts_20160308_small.jpg">
            <a:extLst>
              <a:ext uri="{FF2B5EF4-FFF2-40B4-BE49-F238E27FC236}">
                <a16:creationId xmlns:a16="http://schemas.microsoft.com/office/drawing/2014/main" id="{13A5F94D-0F6B-4591-A4C5-F92965E9B59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2916" y="1620838"/>
            <a:ext cx="1674896" cy="12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781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J:\01_Drucksachen\02_Flyer\Kraftmessung\Link\sw_was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737" t="40573" r="22228" b="10117"/>
          <a:stretch/>
        </p:blipFill>
        <p:spPr bwMode="auto">
          <a:xfrm>
            <a:off x="0"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5118100" y="3054088"/>
            <a:ext cx="2645113" cy="1594112"/>
          </a:xfrm>
          <a:prstGeom prst="roundRect">
            <a:avLst/>
          </a:prstGeom>
          <a:solidFill>
            <a:srgbClr val="4A6480"/>
          </a:solidFill>
          <a:ln/>
        </p:spPr>
        <p:style>
          <a:lnRef idx="2">
            <a:schemeClr val="accent4">
              <a:shade val="50000"/>
            </a:schemeClr>
          </a:lnRef>
          <a:fillRef idx="1">
            <a:schemeClr val="accent4"/>
          </a:fillRef>
          <a:effectRef idx="0">
            <a:schemeClr val="accent4"/>
          </a:effectRef>
          <a:fontRef idx="minor">
            <a:schemeClr val="lt1"/>
          </a:fontRef>
        </p:style>
        <p:txBody>
          <a:bodyPr rtlCol="0" anchor="b"/>
          <a:lstStyle/>
          <a:p>
            <a:pPr algn="ctr"/>
            <a:r>
              <a:rPr lang="de-CH" sz="1800" b="1">
                <a:solidFill>
                  <a:srgbClr val="FFFFFF"/>
                </a:solidFill>
              </a:rPr>
              <a:t>Kunde</a:t>
            </a:r>
          </a:p>
        </p:txBody>
      </p:sp>
      <p:sp>
        <p:nvSpPr>
          <p:cNvPr id="13" name="Rounded Rectangle 12"/>
          <p:cNvSpPr/>
          <p:nvPr/>
        </p:nvSpPr>
        <p:spPr>
          <a:xfrm>
            <a:off x="5615522" y="685006"/>
            <a:ext cx="2707942"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Informationen aktuell und überall zur Verfügung haben</a:t>
            </a:r>
          </a:p>
        </p:txBody>
      </p:sp>
      <p:sp>
        <p:nvSpPr>
          <p:cNvPr id="14" name="Rounded Rectangle 13"/>
          <p:cNvSpPr/>
          <p:nvPr/>
        </p:nvSpPr>
        <p:spPr>
          <a:xfrm>
            <a:off x="2402633" y="1137542"/>
            <a:ext cx="3040993"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Möglichst keine oder zumindest kleine Maschinenstillstände </a:t>
            </a:r>
          </a:p>
        </p:txBody>
      </p:sp>
      <p:pic>
        <p:nvPicPr>
          <p:cNvPr id="819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6181" y="3169481"/>
            <a:ext cx="1833474" cy="1067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ounded Rectangle 20"/>
          <p:cNvSpPr/>
          <p:nvPr/>
        </p:nvSpPr>
        <p:spPr>
          <a:xfrm>
            <a:off x="9077659" y="2611404"/>
            <a:ext cx="2707942"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Maschine möglichst mannlos betreiben</a:t>
            </a:r>
          </a:p>
        </p:txBody>
      </p:sp>
      <p:sp>
        <p:nvSpPr>
          <p:cNvPr id="22" name="Rounded Rectangle 21"/>
          <p:cNvSpPr/>
          <p:nvPr/>
        </p:nvSpPr>
        <p:spPr>
          <a:xfrm>
            <a:off x="8703009" y="1102651"/>
            <a:ext cx="2707942"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Schnelle Maschinenübergaben beim Schichtwechsel</a:t>
            </a:r>
          </a:p>
        </p:txBody>
      </p:sp>
      <p:sp>
        <p:nvSpPr>
          <p:cNvPr id="23" name="Rounded Rectangle 22"/>
          <p:cNvSpPr/>
          <p:nvPr/>
        </p:nvSpPr>
        <p:spPr>
          <a:xfrm>
            <a:off x="344966" y="4206755"/>
            <a:ext cx="1934203" cy="822446"/>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75B8D8"/>
                </a:solidFill>
              </a:rPr>
              <a:t>Live-Daten über den Prozess</a:t>
            </a:r>
          </a:p>
        </p:txBody>
      </p:sp>
      <p:sp>
        <p:nvSpPr>
          <p:cNvPr id="24" name="Rounded Rectangle 23"/>
          <p:cNvSpPr/>
          <p:nvPr/>
        </p:nvSpPr>
        <p:spPr>
          <a:xfrm>
            <a:off x="2663927" y="3872806"/>
            <a:ext cx="1934203" cy="716328"/>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75B8D8"/>
                </a:solidFill>
              </a:rPr>
              <a:t>Live-Daten über die Werkzeuge</a:t>
            </a:r>
          </a:p>
        </p:txBody>
      </p:sp>
      <p:sp>
        <p:nvSpPr>
          <p:cNvPr id="26" name="Rounded Rectangle 25"/>
          <p:cNvSpPr/>
          <p:nvPr/>
        </p:nvSpPr>
        <p:spPr>
          <a:xfrm>
            <a:off x="5443626" y="5466174"/>
            <a:ext cx="3457242" cy="1186324"/>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75B8D8"/>
                </a:solidFill>
              </a:rPr>
              <a:t>Informations-Board:</a:t>
            </a:r>
            <a:br>
              <a:rPr lang="de-CH" sz="1800">
                <a:solidFill>
                  <a:srgbClr val="75B8D8"/>
                </a:solidFill>
                <a:cs typeface="Segoe UI"/>
              </a:rPr>
            </a:br>
            <a:r>
              <a:rPr lang="de-CH" sz="1800">
                <a:solidFill>
                  <a:srgbClr val="75B8D8"/>
                </a:solidFill>
              </a:rPr>
              <a:t> </a:t>
            </a:r>
            <a:r>
              <a:rPr lang="de-CH" sz="1600" i="1">
                <a:solidFill>
                  <a:srgbClr val="75B8D8"/>
                </a:solidFill>
              </a:rPr>
              <a:t>Alle wesentlichen Zustands-Informationen über den zu überwachenden Maschinenpark</a:t>
            </a:r>
            <a:endParaRPr lang="en-US" sz="1600">
              <a:cs typeface="Segoe UI"/>
            </a:endParaRPr>
          </a:p>
        </p:txBody>
      </p:sp>
      <p:sp>
        <p:nvSpPr>
          <p:cNvPr id="28" name="Rounded Rectangle 27"/>
          <p:cNvSpPr/>
          <p:nvPr/>
        </p:nvSpPr>
        <p:spPr>
          <a:xfrm>
            <a:off x="2183956" y="5295900"/>
            <a:ext cx="2580665" cy="821676"/>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75B8D8"/>
                </a:solidFill>
              </a:rPr>
              <a:t>Live-Daten über den laufenden Auftrag</a:t>
            </a:r>
          </a:p>
        </p:txBody>
      </p:sp>
      <p:sp>
        <p:nvSpPr>
          <p:cNvPr id="29" name="Rounded Rectangle 28"/>
          <p:cNvSpPr/>
          <p:nvPr/>
        </p:nvSpPr>
        <p:spPr>
          <a:xfrm>
            <a:off x="561776" y="2633958"/>
            <a:ext cx="2707942"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Möglichst genaue Voraussagen über Auftrag und Werkzeuge</a:t>
            </a:r>
          </a:p>
        </p:txBody>
      </p:sp>
      <p:sp>
        <p:nvSpPr>
          <p:cNvPr id="32" name="Rounded Rectangle 31"/>
          <p:cNvSpPr/>
          <p:nvPr/>
        </p:nvSpPr>
        <p:spPr>
          <a:xfrm>
            <a:off x="8283183" y="3877620"/>
            <a:ext cx="3614344" cy="116313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75B8D8"/>
                </a:solidFill>
                <a:cs typeface="Segoe UI"/>
              </a:rPr>
              <a:t>Benachrichtigungs-System:   </a:t>
            </a:r>
            <a:br>
              <a:rPr lang="de-CH" sz="1800">
                <a:solidFill>
                  <a:srgbClr val="75B8D8"/>
                </a:solidFill>
                <a:cs typeface="Segoe UI"/>
              </a:rPr>
            </a:br>
            <a:r>
              <a:rPr lang="de-CH" sz="1600" i="1">
                <a:solidFill>
                  <a:srgbClr val="75B8D8"/>
                </a:solidFill>
                <a:cs typeface="Segoe UI"/>
              </a:rPr>
              <a:t>Maschinenbediener wird über Maschinenstillstände informiert</a:t>
            </a:r>
            <a:endParaRPr lang="en-US" sz="1600">
              <a:cs typeface="Segoe UI"/>
            </a:endParaRPr>
          </a:p>
        </p:txBody>
      </p:sp>
      <p:pic>
        <p:nvPicPr>
          <p:cNvPr id="17" name="Picture 2">
            <a:extLst>
              <a:ext uri="{FF2B5EF4-FFF2-40B4-BE49-F238E27FC236}">
                <a16:creationId xmlns:a16="http://schemas.microsoft.com/office/drawing/2014/main" id="{A5361FA1-70FE-41BD-A75E-D0FBB7BFC64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038" t="19019" r="18502"/>
          <a:stretch/>
        </p:blipFill>
        <p:spPr bwMode="auto">
          <a:xfrm rot="20757879">
            <a:off x="1163093" y="786363"/>
            <a:ext cx="3315297" cy="23321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8" name="Picture 5">
            <a:extLst>
              <a:ext uri="{FF2B5EF4-FFF2-40B4-BE49-F238E27FC236}">
                <a16:creationId xmlns:a16="http://schemas.microsoft.com/office/drawing/2014/main" id="{5DA2872E-236F-4A2A-B813-F6899FFB3B7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65917" y="505346"/>
            <a:ext cx="3242826" cy="25257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0" name="Picture 4">
            <a:extLst>
              <a:ext uri="{FF2B5EF4-FFF2-40B4-BE49-F238E27FC236}">
                <a16:creationId xmlns:a16="http://schemas.microsoft.com/office/drawing/2014/main" id="{31ED4BF9-73DA-4611-800D-B0FC80EB69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089858">
            <a:off x="4531593" y="1167510"/>
            <a:ext cx="2989106" cy="23817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485867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300"/>
                                  </p:stCondLst>
                                  <p:childTnLst>
                                    <p:set>
                                      <p:cBhvr>
                                        <p:cTn id="8" dur="1" fill="hold">
                                          <p:stCondLst>
                                            <p:cond delay="0"/>
                                          </p:stCondLst>
                                        </p:cTn>
                                        <p:tgtEl>
                                          <p:spTgt spid="819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nodeType="clickEffect">
                                  <p:stCondLst>
                                    <p:cond delay="0"/>
                                  </p:stCondLst>
                                  <p:childTnLst>
                                    <p:set>
                                      <p:cBhvr>
                                        <p:cTn id="38" dur="1" fill="hold">
                                          <p:stCondLst>
                                            <p:cond delay="0"/>
                                          </p:stCondLst>
                                        </p:cTn>
                                        <p:tgtEl>
                                          <p:spTgt spid="17"/>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18"/>
                                        </p:tgtEl>
                                        <p:attrNameLst>
                                          <p:attrName>style.visibility</p:attrName>
                                        </p:attrNameLst>
                                      </p:cBhvr>
                                      <p:to>
                                        <p:strVal val="hidden"/>
                                      </p:to>
                                    </p:set>
                                  </p:childTnLst>
                                </p:cTn>
                              </p:par>
                              <p:par>
                                <p:cTn id="47" presetID="1" presetClass="entr" presetSubtype="0" fill="hold"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20"/>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P spid="14" grpId="0" animBg="1"/>
      <p:bldP spid="21" grpId="0" animBg="1"/>
      <p:bldP spid="22" grpId="0" animBg="1"/>
      <p:bldP spid="23" grpId="0" animBg="1"/>
      <p:bldP spid="24" grpId="0" animBg="1"/>
      <p:bldP spid="26" grpId="0" animBg="1"/>
      <p:bldP spid="28" grpId="0" animBg="1"/>
      <p:bldP spid="29"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J:\01_Drucksachen\02_Flyer\Kraftmessung\Link\sw_wass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737" t="40573" r="22228" b="10117"/>
          <a:stretch/>
        </p:blipFill>
        <p:spPr bwMode="auto">
          <a:xfrm>
            <a:off x="0"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5696161" y="1536312"/>
            <a:ext cx="2286000" cy="1759213"/>
          </a:xfrm>
          <a:prstGeom prst="roundRect">
            <a:avLst/>
          </a:prstGeom>
          <a:solidFill>
            <a:srgbClr val="4A6480"/>
          </a:solidFill>
          <a:ln/>
        </p:spPr>
        <p:style>
          <a:lnRef idx="2">
            <a:schemeClr val="accent4">
              <a:shade val="50000"/>
            </a:schemeClr>
          </a:lnRef>
          <a:fillRef idx="1">
            <a:schemeClr val="accent4"/>
          </a:fillRef>
          <a:effectRef idx="0">
            <a:schemeClr val="accent4"/>
          </a:effectRef>
          <a:fontRef idx="minor">
            <a:schemeClr val="lt1"/>
          </a:fontRef>
        </p:style>
        <p:txBody>
          <a:bodyPr rtlCol="0" anchor="b"/>
          <a:lstStyle/>
          <a:p>
            <a:pPr algn="ctr"/>
            <a:r>
              <a:rPr lang="de-CH" sz="1800" b="1">
                <a:solidFill>
                  <a:srgbClr val="FFC000"/>
                </a:solidFill>
              </a:rPr>
              <a:t>Ziele</a:t>
            </a:r>
            <a:r>
              <a:rPr lang="de-CH" sz="1800" b="1">
                <a:solidFill>
                  <a:srgbClr val="DF2126"/>
                </a:solidFill>
              </a:rPr>
              <a:t> </a:t>
            </a:r>
            <a:r>
              <a:rPr lang="de-CH" sz="1800" b="1">
                <a:solidFill>
                  <a:schemeClr val="bg1"/>
                </a:solidFill>
              </a:rPr>
              <a:t>und</a:t>
            </a:r>
            <a:r>
              <a:rPr lang="de-CH" sz="1800" b="1">
                <a:solidFill>
                  <a:srgbClr val="DF2126"/>
                </a:solidFill>
              </a:rPr>
              <a:t> </a:t>
            </a:r>
            <a:r>
              <a:rPr lang="de-CH" sz="1800" b="1">
                <a:solidFill>
                  <a:srgbClr val="75B8D8"/>
                </a:solidFill>
              </a:rPr>
              <a:t>Lösung</a:t>
            </a:r>
          </a:p>
        </p:txBody>
      </p:sp>
      <p:sp>
        <p:nvSpPr>
          <p:cNvPr id="12" name="Rounded Rectangle 11"/>
          <p:cNvSpPr/>
          <p:nvPr/>
        </p:nvSpPr>
        <p:spPr>
          <a:xfrm>
            <a:off x="903216" y="1852802"/>
            <a:ext cx="2646922"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Produkt muss selbsterklärend sein</a:t>
            </a:r>
          </a:p>
        </p:txBody>
      </p:sp>
      <p:sp>
        <p:nvSpPr>
          <p:cNvPr id="13" name="Rounded Rectangle 12"/>
          <p:cNvSpPr/>
          <p:nvPr/>
        </p:nvSpPr>
        <p:spPr>
          <a:xfrm>
            <a:off x="5615522" y="438150"/>
            <a:ext cx="2707942" cy="800695"/>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dirty="0">
                <a:solidFill>
                  <a:srgbClr val="FFC000"/>
                </a:solidFill>
              </a:rPr>
              <a:t>Kundennutzen klar in den Vordergrund stellen</a:t>
            </a:r>
          </a:p>
        </p:txBody>
      </p:sp>
      <p:sp>
        <p:nvSpPr>
          <p:cNvPr id="14" name="Rounded Rectangle 13"/>
          <p:cNvSpPr/>
          <p:nvPr/>
        </p:nvSpPr>
        <p:spPr>
          <a:xfrm>
            <a:off x="2183956" y="631163"/>
            <a:ext cx="2847864" cy="932558"/>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Zielgruppe sind die Maschinenbediener und Schichtleiter</a:t>
            </a:r>
          </a:p>
        </p:txBody>
      </p:sp>
      <p:sp>
        <p:nvSpPr>
          <p:cNvPr id="22" name="Rounded Rectangle 21"/>
          <p:cNvSpPr/>
          <p:nvPr/>
        </p:nvSpPr>
        <p:spPr>
          <a:xfrm>
            <a:off x="8861826" y="2246662"/>
            <a:ext cx="2942892" cy="78964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Keine teure Zusatz-infrastruktur beim Kunden</a:t>
            </a:r>
          </a:p>
        </p:txBody>
      </p:sp>
      <p:sp>
        <p:nvSpPr>
          <p:cNvPr id="23" name="Rounded Rectangle 22"/>
          <p:cNvSpPr/>
          <p:nvPr/>
        </p:nvSpPr>
        <p:spPr>
          <a:xfrm>
            <a:off x="5199629" y="3387551"/>
            <a:ext cx="3544269" cy="151714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de-CH" sz="1600" dirty="0">
                <a:solidFill>
                  <a:srgbClr val="75B8D8"/>
                </a:solidFill>
              </a:rPr>
              <a:t>Cloud als Schnittstelle </a:t>
            </a:r>
            <a:r>
              <a:rPr lang="de-CH" sz="1600">
                <a:solidFill>
                  <a:srgbClr val="75B8D8"/>
                </a:solidFill>
              </a:rPr>
              <a:t>zwischen Maschine </a:t>
            </a:r>
            <a:r>
              <a:rPr lang="de-CH" sz="1600" dirty="0">
                <a:solidFill>
                  <a:srgbClr val="75B8D8"/>
                </a:solidFill>
              </a:rPr>
              <a:t>und APP</a:t>
            </a:r>
          </a:p>
        </p:txBody>
      </p:sp>
      <p:sp>
        <p:nvSpPr>
          <p:cNvPr id="24" name="Rounded Rectangle 23"/>
          <p:cNvSpPr/>
          <p:nvPr/>
        </p:nvSpPr>
        <p:spPr>
          <a:xfrm>
            <a:off x="9095874" y="3168822"/>
            <a:ext cx="2035743" cy="3143917"/>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de-CH" sz="1600">
                <a:solidFill>
                  <a:srgbClr val="75B8D8"/>
                </a:solidFill>
              </a:rPr>
              <a:t>App auf dem Smartphone</a:t>
            </a:r>
          </a:p>
        </p:txBody>
      </p:sp>
      <p:sp>
        <p:nvSpPr>
          <p:cNvPr id="28" name="Rounded Rectangle 27"/>
          <p:cNvSpPr/>
          <p:nvPr/>
        </p:nvSpPr>
        <p:spPr>
          <a:xfrm>
            <a:off x="1287965" y="3041981"/>
            <a:ext cx="3040653" cy="3292095"/>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de-CH" sz="1600">
                <a:solidFill>
                  <a:srgbClr val="75B8D8"/>
                </a:solidFill>
              </a:rPr>
              <a:t>App im Browser</a:t>
            </a:r>
          </a:p>
        </p:txBody>
      </p:sp>
      <p:sp>
        <p:nvSpPr>
          <p:cNvPr id="29" name="Rounded Rectangle 28"/>
          <p:cNvSpPr/>
          <p:nvPr/>
        </p:nvSpPr>
        <p:spPr>
          <a:xfrm>
            <a:off x="9055434" y="849813"/>
            <a:ext cx="2707942" cy="966589"/>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a:solidFill>
                  <a:srgbClr val="FFC000"/>
                </a:solidFill>
              </a:rPr>
              <a:t>Einfaches oder kein User-Management</a:t>
            </a:r>
          </a:p>
        </p:txBody>
      </p:sp>
      <p:sp>
        <p:nvSpPr>
          <p:cNvPr id="32" name="Rounded Rectangle 31"/>
          <p:cNvSpPr/>
          <p:nvPr/>
        </p:nvSpPr>
        <p:spPr>
          <a:xfrm>
            <a:off x="5144685" y="5280009"/>
            <a:ext cx="3596942" cy="1247126"/>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b="1">
                <a:solidFill>
                  <a:srgbClr val="75B8D8"/>
                </a:solidFill>
                <a:sym typeface="Wingdings" panose="05000000000000000000" pitchFamily="2" charset="2"/>
              </a:rPr>
              <a:t> Management-Tool, das den OEE im Vordergrund stellt</a:t>
            </a:r>
            <a:endParaRPr lang="de-CH" sz="1800" b="1">
              <a:solidFill>
                <a:srgbClr val="75B8D8"/>
              </a:solidFill>
            </a:endParaRPr>
          </a:p>
        </p:txBody>
      </p:sp>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3053" y="1757095"/>
            <a:ext cx="1706816" cy="1121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ounded Rectangle 18"/>
          <p:cNvSpPr/>
          <p:nvPr/>
        </p:nvSpPr>
        <p:spPr>
          <a:xfrm>
            <a:off x="5146956" y="5280009"/>
            <a:ext cx="3596942" cy="1247126"/>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800" b="1" strike="sngStrike">
                <a:solidFill>
                  <a:srgbClr val="FF0000"/>
                </a:solidFill>
                <a:sym typeface="Wingdings" panose="05000000000000000000" pitchFamily="2" charset="2"/>
              </a:rPr>
              <a:t> Management-Tool, das den OEE im Vordergrund stellt</a:t>
            </a:r>
            <a:endParaRPr lang="de-CH" sz="1800" b="1" strike="sngStrike">
              <a:solidFill>
                <a:srgbClr val="FF0000"/>
              </a:solidFill>
            </a:endParaRPr>
          </a:p>
        </p:txBody>
      </p:sp>
      <p:pic>
        <p:nvPicPr>
          <p:cNvPr id="3" name="Grafik 2">
            <a:extLst>
              <a:ext uri="{FF2B5EF4-FFF2-40B4-BE49-F238E27FC236}">
                <a16:creationId xmlns:a16="http://schemas.microsoft.com/office/drawing/2014/main" id="{59354D03-DFB7-4440-AB7A-8360DABD11D1}"/>
              </a:ext>
            </a:extLst>
          </p:cNvPr>
          <p:cNvPicPr>
            <a:picLocks noChangeAspect="1"/>
          </p:cNvPicPr>
          <p:nvPr/>
        </p:nvPicPr>
        <p:blipFill>
          <a:blip r:embed="rId5"/>
          <a:stretch>
            <a:fillRect/>
          </a:stretch>
        </p:blipFill>
        <p:spPr>
          <a:xfrm>
            <a:off x="1589947" y="3681369"/>
            <a:ext cx="2451041" cy="2446645"/>
          </a:xfrm>
          <a:prstGeom prst="rect">
            <a:avLst/>
          </a:prstGeom>
        </p:spPr>
      </p:pic>
      <p:pic>
        <p:nvPicPr>
          <p:cNvPr id="5" name="Grafik 4">
            <a:extLst>
              <a:ext uri="{FF2B5EF4-FFF2-40B4-BE49-F238E27FC236}">
                <a16:creationId xmlns:a16="http://schemas.microsoft.com/office/drawing/2014/main" id="{AE1EBD38-827E-4A4C-A760-FB5756DDD540}"/>
              </a:ext>
            </a:extLst>
          </p:cNvPr>
          <p:cNvPicPr>
            <a:picLocks noChangeAspect="1"/>
          </p:cNvPicPr>
          <p:nvPr/>
        </p:nvPicPr>
        <p:blipFill>
          <a:blip r:embed="rId6"/>
          <a:stretch>
            <a:fillRect/>
          </a:stretch>
        </p:blipFill>
        <p:spPr>
          <a:xfrm>
            <a:off x="9505207" y="3925107"/>
            <a:ext cx="1292950" cy="2298577"/>
          </a:xfrm>
          <a:prstGeom prst="rect">
            <a:avLst/>
          </a:prstGeom>
        </p:spPr>
      </p:pic>
      <p:pic>
        <p:nvPicPr>
          <p:cNvPr id="6" name="Grafik 5">
            <a:extLst>
              <a:ext uri="{FF2B5EF4-FFF2-40B4-BE49-F238E27FC236}">
                <a16:creationId xmlns:a16="http://schemas.microsoft.com/office/drawing/2014/main" id="{C8EA8620-4D59-4188-8946-9BB6FDF073E4}"/>
              </a:ext>
            </a:extLst>
          </p:cNvPr>
          <p:cNvPicPr>
            <a:picLocks noChangeAspect="1"/>
          </p:cNvPicPr>
          <p:nvPr/>
        </p:nvPicPr>
        <p:blipFill>
          <a:blip r:embed="rId7"/>
          <a:stretch>
            <a:fillRect/>
          </a:stretch>
        </p:blipFill>
        <p:spPr>
          <a:xfrm>
            <a:off x="6096000" y="3985023"/>
            <a:ext cx="1776887" cy="904734"/>
          </a:xfrm>
          <a:prstGeom prst="rect">
            <a:avLst/>
          </a:prstGeom>
        </p:spPr>
      </p:pic>
    </p:spTree>
    <p:extLst>
      <p:ext uri="{BB962C8B-B14F-4D97-AF65-F5344CB8AC3E}">
        <p14:creationId xmlns:p14="http://schemas.microsoft.com/office/powerpoint/2010/main" val="2463784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1000"/>
                                  </p:stCondLst>
                                  <p:childTnLst>
                                    <p:set>
                                      <p:cBhvr>
                                        <p:cTn id="8" dur="1" fill="hold">
                                          <p:stCondLst>
                                            <p:cond delay="0"/>
                                          </p:stCondLst>
                                        </p:cTn>
                                        <p:tgtEl>
                                          <p:spTgt spid="92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4" grpId="0" animBg="1"/>
      <p:bldP spid="22" grpId="0" animBg="1"/>
      <p:bldP spid="23" grpId="0" animBg="1"/>
      <p:bldP spid="24" grpId="0" animBg="1"/>
      <p:bldP spid="28" grpId="0" animBg="1"/>
      <p:bldP spid="29" grpId="0" animBg="1"/>
      <p:bldP spid="32"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5507" y="717756"/>
            <a:ext cx="10015794" cy="563388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25833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5508" y="717755"/>
            <a:ext cx="10016001" cy="5634000"/>
          </a:xfrm>
          <a:prstGeom prst="rect">
            <a:avLst/>
          </a:prstGeom>
        </p:spPr>
      </p:pic>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6728" y="1335703"/>
            <a:ext cx="1417329" cy="1417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2357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bv_Template_16-9_neu">
  <a:themeElements>
    <a:clrScheme name="BBV">
      <a:dk1>
        <a:sysClr val="windowText" lastClr="000000"/>
      </a:dk1>
      <a:lt1>
        <a:sysClr val="window" lastClr="FFFFFF"/>
      </a:lt1>
      <a:dk2>
        <a:srgbClr val="CC071E"/>
      </a:dk2>
      <a:lt2>
        <a:srgbClr val="707173"/>
      </a:lt2>
      <a:accent1>
        <a:srgbClr val="CC071E"/>
      </a:accent1>
      <a:accent2>
        <a:srgbClr val="373839"/>
      </a:accent2>
      <a:accent3>
        <a:srgbClr val="F39800"/>
      </a:accent3>
      <a:accent4>
        <a:srgbClr val="005193"/>
      </a:accent4>
      <a:accent5>
        <a:srgbClr val="519DD1"/>
      </a:accent5>
      <a:accent6>
        <a:srgbClr val="005D39"/>
      </a:accent6>
      <a:hlink>
        <a:srgbClr val="CC071E"/>
      </a:hlink>
      <a:folHlink>
        <a:srgbClr val="707173"/>
      </a:folHlink>
    </a:clrScheme>
    <a:fontScheme name="BBV">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wrap="square" lIns="72000" tIns="72000" rIns="72000" bIns="72000" rtlCol="0" anchor="ctr">
        <a:noAutofit/>
      </a:bodyPr>
      <a:lstStyle>
        <a:defPPr algn="ctr">
          <a:defRPr sz="1600" dirty="0" err="1" smtClean="0">
            <a:solidFill>
              <a:schemeClr val="bg1"/>
            </a:solidFil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1" i="0" u="none" strike="noStrike" cap="none" normalizeH="0" baseline="0">
            <a:ln>
              <a:noFill/>
            </a:ln>
            <a:solidFill>
              <a:schemeClr val="tx1"/>
            </a:solidFill>
            <a:effectLst/>
            <a:latin typeface="Segoe UI" pitchFamily="-128" charset="0"/>
            <a:ea typeface="ＭＳ Ｐゴシック" pitchFamily="-128" charset="-128"/>
            <a:cs typeface="ＭＳ Ｐゴシック" pitchFamily="-128" charset="-128"/>
          </a:defRPr>
        </a:defPPr>
      </a:lstStyle>
    </a:lnDef>
    <a:txDef>
      <a:spPr>
        <a:noFill/>
      </a:spPr>
      <a:bodyPr wrap="none" lIns="0" tIns="0" rIns="0" bIns="0" rtlCol="0" anchor="ctr">
        <a:noAutofit/>
      </a:bodyPr>
      <a:lstStyle>
        <a:defPPr>
          <a:defRPr sz="1600" dirty="0" err="1" smtClean="0">
            <a:solidFill>
              <a:schemeClr val="bg1"/>
            </a:solidFill>
            <a:latin typeface="+mj-lt"/>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bv_template_2017.potx" id="{0B7259C9-6CAA-4C59-B866-FC951CE42220}" vid="{ADCE46D6-9D03-4BED-9F09-68CC26BAEBB4}"/>
    </a:ext>
  </a:extLst>
</a:theme>
</file>

<file path=ppt/theme/theme2.xml><?xml version="1.0" encoding="utf-8"?>
<a:theme xmlns:a="http://schemas.openxmlformats.org/drawingml/2006/main" name="Agathon_Template">
  <a:themeElements>
    <a:clrScheme name="Agathon_colors">
      <a:dk1>
        <a:sysClr val="windowText" lastClr="000000"/>
      </a:dk1>
      <a:lt1>
        <a:sysClr val="window" lastClr="FFFFFF"/>
      </a:lt1>
      <a:dk2>
        <a:srgbClr val="565656"/>
      </a:dk2>
      <a:lt2>
        <a:srgbClr val="E9E9E9"/>
      </a:lt2>
      <a:accent1>
        <a:srgbClr val="D8EAF5"/>
      </a:accent1>
      <a:accent2>
        <a:srgbClr val="75B8D8"/>
      </a:accent2>
      <a:accent3>
        <a:srgbClr val="B7C1D2"/>
      </a:accent3>
      <a:accent4>
        <a:srgbClr val="08314C"/>
      </a:accent4>
      <a:accent5>
        <a:srgbClr val="F19D87"/>
      </a:accent5>
      <a:accent6>
        <a:srgbClr val="DF2126"/>
      </a:accent6>
      <a:hlink>
        <a:srgbClr val="DF2126"/>
      </a:hlink>
      <a:folHlink>
        <a:srgbClr val="08314C"/>
      </a:folHlink>
    </a:clrScheme>
    <a:fontScheme name="Agathon_font">
      <a:majorFont>
        <a:latin typeface="Segoe UI"/>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AAG_Rot">
      <a:srgbClr val="DF2126"/>
    </a:custClr>
    <a:custClr name="AAG_Dunkelblau">
      <a:srgbClr val="08314C"/>
    </a:custClr>
    <a:custClr name="AAG_Eisblau">
      <a:srgbClr val="75B8D8"/>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AAG_Rot 85%">
      <a:srgbClr val="E44B3D"/>
    </a:custClr>
    <a:custClr name="AAG_Dunkelblau 70%">
      <a:srgbClr val="4A6480"/>
    </a:custClr>
    <a:custClr name="AAG_Eisblau 50%">
      <a:srgbClr val="BEDBED"/>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AAG_Rot 70%">
      <a:srgbClr val="EA705A"/>
    </a:custClr>
    <a:custClr name="AAG_Dunkelblau 50%">
      <a:srgbClr val="778AA4"/>
    </a:custClr>
    <a:custClr name="AAG_Eisblau 30%">
      <a:srgbClr val="D8EAF5"/>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AAG_Rot 50%">
      <a:srgbClr val="F19D87"/>
    </a:custClr>
    <a:custClr name="AAG_Dunkelblau 25%">
      <a:srgbClr val="B7C1D2"/>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AAG_Rot 25%">
      <a:srgbClr val="F9D1C3"/>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AE7CC079306B04B83689BD62BB81187" ma:contentTypeVersion="8" ma:contentTypeDescription="Ein neues Dokument erstellen." ma:contentTypeScope="" ma:versionID="11bc939b184cc8384e108d2ba35f55f8">
  <xsd:schema xmlns:xsd="http://www.w3.org/2001/XMLSchema" xmlns:xs="http://www.w3.org/2001/XMLSchema" xmlns:p="http://schemas.microsoft.com/office/2006/metadata/properties" xmlns:ns2="1c26866b-1ab7-4ff9-86c8-297410445298" xmlns:ns3="d20415a9-b8e6-454b-a469-633a110caa8d" targetNamespace="http://schemas.microsoft.com/office/2006/metadata/properties" ma:root="true" ma:fieldsID="807bf51c8b31ad8401bb172bb80ba817" ns2:_="" ns3:_="">
    <xsd:import namespace="1c26866b-1ab7-4ff9-86c8-297410445298"/>
    <xsd:import namespace="d20415a9-b8e6-454b-a469-633a110caa8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26866b-1ab7-4ff9-86c8-2974104452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20415a9-b8e6-454b-a469-633a110caa8d"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0D08708-8511-4955-801F-764FDD4E69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26866b-1ab7-4ff9-86c8-297410445298"/>
    <ds:schemaRef ds:uri="d20415a9-b8e6-454b-a469-633a110caa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BEAD09-7817-480B-981A-7FC5D0646803}">
  <ds:schemaRefs>
    <ds:schemaRef ds:uri="http://schemas.microsoft.com/sharepoint/v3/contenttype/forms"/>
  </ds:schemaRefs>
</ds:datastoreItem>
</file>

<file path=customXml/itemProps3.xml><?xml version="1.0" encoding="utf-8"?>
<ds:datastoreItem xmlns:ds="http://schemas.openxmlformats.org/officeDocument/2006/customXml" ds:itemID="{66E463B9-72FB-4E69-B642-D9F2B8D48B9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1164</Words>
  <Application>Microsoft Office PowerPoint</Application>
  <PresentationFormat>Widescreen</PresentationFormat>
  <Paragraphs>359</Paragraphs>
  <Slides>21</Slides>
  <Notes>1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ＭＳ Ｐゴシック</vt:lpstr>
      <vt:lpstr>Arial</vt:lpstr>
      <vt:lpstr>Calibri</vt:lpstr>
      <vt:lpstr>Courier New</vt:lpstr>
      <vt:lpstr>Quattrocento Sans</vt:lpstr>
      <vt:lpstr>Segoe UI</vt:lpstr>
      <vt:lpstr>Symbol</vt:lpstr>
      <vt:lpstr>Wingdings</vt:lpstr>
      <vt:lpstr>bbv_Template_16-9_neu</vt:lpstr>
      <vt:lpstr>Agathon_Template</vt:lpstr>
      <vt:lpstr>think-cell Folie</vt:lpstr>
      <vt:lpstr>Wann es vernetzten Maschinen  «heiss» und «kalt» wird</vt:lpstr>
      <vt:lpstr>PowerPoint Presentation</vt:lpstr>
      <vt:lpstr>Agathon</vt:lpstr>
      <vt:lpstr>Agathon - Hauptaktivitäten</vt:lpstr>
      <vt:lpstr>Agathon – Perfekte Lösung für jede Anwendung</vt:lpstr>
      <vt:lpstr>PowerPoint Presentation</vt:lpstr>
      <vt:lpstr>PowerPoint Presentation</vt:lpstr>
      <vt:lpstr>PowerPoint Presentation</vt:lpstr>
      <vt:lpstr>PowerPoint Presentation</vt:lpstr>
      <vt:lpstr>Vorgehen</vt:lpstr>
      <vt:lpstr>Use Cases verstehen</vt:lpstr>
      <vt:lpstr>Nicht-Funktionale Anforderungen verstehen</vt:lpstr>
      <vt:lpstr>Agiles Vorgehen</vt:lpstr>
      <vt:lpstr>Agile Architektur</vt:lpstr>
      <vt:lpstr>Die System-Architektur von Agathon Live Status</vt:lpstr>
      <vt:lpstr>Mengengerüst der Nachrichten</vt:lpstr>
      <vt:lpstr>Grobes Kostenmodell der Cloud berechnen</vt:lpstr>
      <vt:lpstr>Fazit</vt:lpstr>
      <vt:lpstr>Ausblick</vt:lpstr>
      <vt:lpstr>Frag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nn es vernetzten Maschinen  «heiss» und «kalt»  wird</dc:title>
  <dc:creator>Antonino Leanza</dc:creator>
  <cp:lastModifiedBy>Antonino Leanza</cp:lastModifiedBy>
  <cp:revision>10</cp:revision>
  <dcterms:modified xsi:type="dcterms:W3CDTF">2018-09-07T13:0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7CC079306B04B83689BD62BB81187</vt:lpwstr>
  </property>
</Properties>
</file>